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264" r:id="rId2"/>
    <p:sldId id="259" r:id="rId3"/>
    <p:sldId id="257" r:id="rId4"/>
    <p:sldId id="258" r:id="rId5"/>
    <p:sldId id="262" r:id="rId6"/>
    <p:sldId id="256" r:id="rId7"/>
    <p:sldId id="260" r:id="rId8"/>
    <p:sldId id="261" r:id="rId9"/>
    <p:sldId id="263" r:id="rId10"/>
    <p:sldId id="265" r:id="rId11"/>
    <p:sldId id="266" r:id="rId12"/>
    <p:sldId id="267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4540"/>
    <a:srgbClr val="17223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9000" autoAdjust="0"/>
    <p:restoredTop sz="94660"/>
  </p:normalViewPr>
  <p:slideViewPr>
    <p:cSldViewPr snapToGrid="0" showGuides="1">
      <p:cViewPr varScale="1">
        <p:scale>
          <a:sx n="50" d="100"/>
          <a:sy n="50" d="100"/>
        </p:scale>
        <p:origin x="-677" y="-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737D1D-0EFA-4DF4-B78A-123961A305FA}" type="datetimeFigureOut">
              <a:rPr lang="en-US" smtClean="0"/>
              <a:pPr/>
              <a:t>11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F65765-75C1-445F-8F2B-74A050499A5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69289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youxventures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lient-testimonial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officestock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lient-testimonial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tfelipe?utm_source=unsplash&amp;utm_medium=referral&amp;utm_content=creditCopyText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landscape?utm_source=unsplash&amp;utm_medium=referral&amp;utm_content=creditCopyText" TargetMode="External"/><Relationship Id="rId5" Type="http://schemas.openxmlformats.org/officeDocument/2006/relationships/hyperlink" Target="https://unsplash.com/@lucabravo?utm_source=unsplash&amp;utm_medium=referral&amp;utm_content=creditCopyText" TargetMode="External"/><Relationship Id="rId4" Type="http://schemas.openxmlformats.org/officeDocument/2006/relationships/hyperlink" Target="https://unsplash.com/s/photos/business-woman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xps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orkspace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s/photos/building?utm_source=unsplash&amp;utm_medium=referral&amp;utm_content=creditCopyText" TargetMode="External"/><Relationship Id="rId3" Type="http://schemas.openxmlformats.org/officeDocument/2006/relationships/hyperlink" Target="https://unsplash.com/@linkedinsalesnavigator?utm_source=unsplash&amp;utm_medium=referral&amp;utm_content=creditCopyText" TargetMode="External"/><Relationship Id="rId7" Type="http://schemas.openxmlformats.org/officeDocument/2006/relationships/hyperlink" Target="https://unsplash.com/@jonathan_christian_photography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sinessman?utm_source=unsplash&amp;utm_medium=referral&amp;utm_content=creditCopyText" TargetMode="External"/><Relationship Id="rId5" Type="http://schemas.openxmlformats.org/officeDocument/2006/relationships/hyperlink" Target="https://unsplash.com/@taylor_grote?utm_source=unsplash&amp;utm_medium=referral&amp;utm_content=creditCopyText" TargetMode="External"/><Relationship Id="rId4" Type="http://schemas.openxmlformats.org/officeDocument/2006/relationships/hyperlink" Target="https://unsplash.com/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s/photos/building?utm_source=unsplash&amp;utm_medium=referral&amp;utm_content=creditCopyText" TargetMode="External"/><Relationship Id="rId3" Type="http://schemas.openxmlformats.org/officeDocument/2006/relationships/hyperlink" Target="https://unsplash.com/@linkedinsalesnavigator?utm_source=unsplash&amp;utm_medium=referral&amp;utm_content=creditCopyText" TargetMode="External"/><Relationship Id="rId7" Type="http://schemas.openxmlformats.org/officeDocument/2006/relationships/hyperlink" Target="https://unsplash.com/@jonathan_christian_photography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sinessman?utm_source=unsplash&amp;utm_medium=referral&amp;utm_content=creditCopyText" TargetMode="External"/><Relationship Id="rId5" Type="http://schemas.openxmlformats.org/officeDocument/2006/relationships/hyperlink" Target="https://unsplash.com/@taylor_grote?utm_source=unsplash&amp;utm_medium=referral&amp;utm_content=creditCopyText" TargetMode="External"/><Relationship Id="rId10" Type="http://schemas.openxmlformats.org/officeDocument/2006/relationships/hyperlink" Target="https://www.pexels.com/photo/high-rise-building-1662159/?utm_content=attributionCopyText&amp;utm_medium=referral&amp;utm_source=pexels" TargetMode="External"/><Relationship Id="rId4" Type="http://schemas.openxmlformats.org/officeDocument/2006/relationships/hyperlink" Target="https://unsplash.com/?utm_source=unsplash&amp;utm_medium=referral&amp;utm_content=creditCopyText" TargetMode="External"/><Relationship Id="rId9" Type="http://schemas.openxmlformats.org/officeDocument/2006/relationships/hyperlink" Target="https://www.pexels.com/@rickyrecap?utm_content=attributionCopyText&amp;utm_medium=referral&amp;utm_source=pexels" TargetMode="External"/></Relationships>
</file>

<file path=ppt/notesSlides/_rels/notes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photos/pAtA8xe_iVM/share?utm_source=unsplash&amp;utm_medium=referral&amp;utm_content=creditCopyText" TargetMode="External"/><Relationship Id="rId3" Type="http://schemas.openxmlformats.org/officeDocument/2006/relationships/hyperlink" Target="https://unsplash.com/@linkedinsalesnavigator?utm_source=unsplash&amp;utm_medium=referral&amp;utm_content=creditCopyText" TargetMode="External"/><Relationship Id="rId7" Type="http://schemas.openxmlformats.org/officeDocument/2006/relationships/hyperlink" Target="https://unsplash.com/@wocintechchat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sinessman?utm_source=unsplash&amp;utm_medium=referral&amp;utm_content=creditCopyText" TargetMode="External"/><Relationship Id="rId5" Type="http://schemas.openxmlformats.org/officeDocument/2006/relationships/hyperlink" Target="https://unsplash.com/@taylor_grote?utm_source=unsplash&amp;utm_medium=referral&amp;utm_content=creditCopyText" TargetMode="External"/><Relationship Id="rId10" Type="http://schemas.openxmlformats.org/officeDocument/2006/relationships/hyperlink" Target="https://unsplash.com/s/photos/street?utm_source=unsplash&amp;utm_medium=referral&amp;utm_content=creditCopyText" TargetMode="External"/><Relationship Id="rId4" Type="http://schemas.openxmlformats.org/officeDocument/2006/relationships/hyperlink" Target="https://unsplash.com/?utm_source=unsplash&amp;utm_medium=referral&amp;utm_content=creditCopyText" TargetMode="External"/><Relationship Id="rId9" Type="http://schemas.openxmlformats.org/officeDocument/2006/relationships/hyperlink" Target="https://unsplash.com/@boim_24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photos/pAtA8xe_iVM/share?utm_source=unsplash&amp;utm_medium=referral&amp;utm_content=creditCopyText" TargetMode="External"/><Relationship Id="rId13" Type="http://schemas.openxmlformats.org/officeDocument/2006/relationships/hyperlink" Target="https://www.pexels.com/@eberhardgross?utm_content=attributionCopyText&amp;utm_medium=referral&amp;utm_source=pexels" TargetMode="External"/><Relationship Id="rId3" Type="http://schemas.openxmlformats.org/officeDocument/2006/relationships/hyperlink" Target="https://unsplash.com/@linkedinsalesnavigator?utm_source=unsplash&amp;utm_medium=referral&amp;utm_content=creditCopyText" TargetMode="External"/><Relationship Id="rId7" Type="http://schemas.openxmlformats.org/officeDocument/2006/relationships/hyperlink" Target="https://unsplash.com/@wocintechchat?utm_source=unsplash&amp;utm_medium=referral&amp;utm_content=creditCopyText" TargetMode="External"/><Relationship Id="rId12" Type="http://schemas.openxmlformats.org/officeDocument/2006/relationships/hyperlink" Target="https://unsplash.com/s/photos/world-map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sinessman?utm_source=unsplash&amp;utm_medium=referral&amp;utm_content=creditCopyText" TargetMode="External"/><Relationship Id="rId11" Type="http://schemas.openxmlformats.org/officeDocument/2006/relationships/hyperlink" Target="https://unsplash.com/@drewmark?utm_source=unsplash&amp;utm_medium=referral&amp;utm_content=creditCopyText" TargetMode="External"/><Relationship Id="rId5" Type="http://schemas.openxmlformats.org/officeDocument/2006/relationships/hyperlink" Target="https://unsplash.com/@taylor_grote?utm_source=unsplash&amp;utm_medium=referral&amp;utm_content=creditCopyText" TargetMode="External"/><Relationship Id="rId10" Type="http://schemas.openxmlformats.org/officeDocument/2006/relationships/hyperlink" Target="https://unsplash.com/s/photos/business-woman?utm_source=unsplash&amp;utm_medium=referral&amp;utm_content=creditCopyText" TargetMode="External"/><Relationship Id="rId4" Type="http://schemas.openxmlformats.org/officeDocument/2006/relationships/hyperlink" Target="https://unsplash.com/?utm_source=unsplash&amp;utm_medium=referral&amp;utm_content=creditCopyText" TargetMode="External"/><Relationship Id="rId9" Type="http://schemas.openxmlformats.org/officeDocument/2006/relationships/hyperlink" Target="https://unsplash.com/@matfelipe?utm_source=unsplash&amp;utm_medium=referral&amp;utm_content=creditCopyText" TargetMode="External"/><Relationship Id="rId14" Type="http://schemas.openxmlformats.org/officeDocument/2006/relationships/hyperlink" Target="https://www.pexels.com/photo/landscape-photography-of-snowy-mountain-1366919/?utm_content=attributionCopyText&amp;utm_medium=referral&amp;utm_source=pexels" TargetMode="External"/></Relationships>
</file>

<file path=ppt/notesSlides/_rels/notes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photos/pAtA8xe_iVM/share?utm_source=unsplash&amp;utm_medium=referral&amp;utm_content=creditCopyText" TargetMode="External"/><Relationship Id="rId3" Type="http://schemas.openxmlformats.org/officeDocument/2006/relationships/hyperlink" Target="https://unsplash.com/@linkedinsalesnavigator?utm_source=unsplash&amp;utm_medium=referral&amp;utm_content=creditCopyText" TargetMode="External"/><Relationship Id="rId7" Type="http://schemas.openxmlformats.org/officeDocument/2006/relationships/hyperlink" Target="https://unsplash.com/@wocintechchat?utm_source=unsplash&amp;utm_medium=referral&amp;utm_content=creditCopyText" TargetMode="External"/><Relationship Id="rId12" Type="http://schemas.openxmlformats.org/officeDocument/2006/relationships/hyperlink" Target="https://unsplash.com/s/photos/business-woman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sinessman?utm_source=unsplash&amp;utm_medium=referral&amp;utm_content=creditCopyText" TargetMode="External"/><Relationship Id="rId11" Type="http://schemas.openxmlformats.org/officeDocument/2006/relationships/hyperlink" Target="https://unsplash.com/@matfelipe?utm_source=unsplash&amp;utm_medium=referral&amp;utm_content=creditCopyText" TargetMode="External"/><Relationship Id="rId5" Type="http://schemas.openxmlformats.org/officeDocument/2006/relationships/hyperlink" Target="https://unsplash.com/@taylor_grote?utm_source=unsplash&amp;utm_medium=referral&amp;utm_content=creditCopyText" TargetMode="External"/><Relationship Id="rId10" Type="http://schemas.openxmlformats.org/officeDocument/2006/relationships/hyperlink" Target="https://www.pexels.com/photo/train-passing-773471/?utm_content=attributionCopyText&amp;utm_medium=referral&amp;utm_source=pexels" TargetMode="External"/><Relationship Id="rId4" Type="http://schemas.openxmlformats.org/officeDocument/2006/relationships/hyperlink" Target="https://unsplash.com/?utm_source=unsplash&amp;utm_medium=referral&amp;utm_content=creditCopyText" TargetMode="External"/><Relationship Id="rId9" Type="http://schemas.openxmlformats.org/officeDocument/2006/relationships/hyperlink" Target="https://www.pexels.com/@hebaysal?utm_content=attributionCopyText&amp;utm_medium=referral&amp;utm_source=pexels" TargetMode="External"/></Relationships>
</file>

<file path=ppt/notesSlides/_rels/notes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photos/pAtA8xe_iVM/share?utm_source=unsplash&amp;utm_medium=referral&amp;utm_content=creditCopyText" TargetMode="External"/><Relationship Id="rId3" Type="http://schemas.openxmlformats.org/officeDocument/2006/relationships/hyperlink" Target="https://unsplash.com/@linkedinsalesnavigator?utm_source=unsplash&amp;utm_medium=referral&amp;utm_content=creditCopyText" TargetMode="External"/><Relationship Id="rId7" Type="http://schemas.openxmlformats.org/officeDocument/2006/relationships/hyperlink" Target="https://unsplash.com/@wocintechchat?utm_source=unsplash&amp;utm_medium=referral&amp;utm_content=creditCopyText" TargetMode="External"/><Relationship Id="rId12" Type="http://schemas.openxmlformats.org/officeDocument/2006/relationships/hyperlink" Target="https://unsplash.com/s/photos/business-man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sinessman?utm_source=unsplash&amp;utm_medium=referral&amp;utm_content=creditCopyText" TargetMode="External"/><Relationship Id="rId11" Type="http://schemas.openxmlformats.org/officeDocument/2006/relationships/hyperlink" Target="https://unsplash.com/@rodreis?utm_source=unsplash&amp;utm_medium=referral&amp;utm_content=creditCopyText" TargetMode="External"/><Relationship Id="rId5" Type="http://schemas.openxmlformats.org/officeDocument/2006/relationships/hyperlink" Target="https://unsplash.com/@taylor_grote?utm_source=unsplash&amp;utm_medium=referral&amp;utm_content=creditCopyText" TargetMode="External"/><Relationship Id="rId10" Type="http://schemas.openxmlformats.org/officeDocument/2006/relationships/hyperlink" Target="https://unsplash.com/s/photos/business-woman?utm_source=unsplash&amp;utm_medium=referral&amp;utm_content=creditCopyText" TargetMode="External"/><Relationship Id="rId4" Type="http://schemas.openxmlformats.org/officeDocument/2006/relationships/hyperlink" Target="https://unsplash.com/?utm_source=unsplash&amp;utm_medium=referral&amp;utm_content=creditCopyText" TargetMode="External"/><Relationship Id="rId9" Type="http://schemas.openxmlformats.org/officeDocument/2006/relationships/hyperlink" Target="https://unsplash.com/@matfelip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You X Venture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911211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Sebastian Herrman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20839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Mateus Campos Felip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5"/>
              </a:rPr>
              <a:t>Luca Bravo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8421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woman'&gt;Woman photo created by </a:t>
            </a:r>
            <a:r>
              <a:rPr lang="en-US" dirty="0" err="1"/>
              <a:t>cookie_studio</a:t>
            </a:r>
            <a:r>
              <a:rPr lang="en-US" dirty="0"/>
              <a:t> - www.freepik.com&lt;/a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XPS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36060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LinkedIn Sales Navigato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and Photo by </a:t>
            </a:r>
            <a:r>
              <a:rPr lang="en-US" dirty="0">
                <a:hlinkClick r:id="rId5"/>
              </a:rPr>
              <a:t>Taylor Grote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7"/>
              </a:rPr>
              <a:t>Jonathan Riley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56428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LinkedIn Sales Navigato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and Photo by </a:t>
            </a:r>
            <a:r>
              <a:rPr lang="en-US" dirty="0">
                <a:hlinkClick r:id="rId5"/>
              </a:rPr>
              <a:t>Taylor Grote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7"/>
              </a:rPr>
              <a:t>Jonathan Riley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Ricardo Esquivel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Pexels</a:t>
            </a:r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704644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LinkedIn Sales Navigato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and Photo by </a:t>
            </a:r>
            <a:r>
              <a:rPr lang="en-US" dirty="0">
                <a:hlinkClick r:id="rId5"/>
              </a:rPr>
              <a:t>Taylor Grote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7"/>
              </a:rPr>
              <a:t>Christina @ wocintechchat.com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 err="1">
                <a:hlinkClick r:id="rId9"/>
              </a:rPr>
              <a:t>Boim</a:t>
            </a:r>
            <a:r>
              <a:rPr lang="en-US" dirty="0"/>
              <a:t> on </a:t>
            </a:r>
            <a:r>
              <a:rPr lang="en-US" dirty="0" err="1">
                <a:hlinkClick r:id="rId10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49509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LinkedIn Sales Navigato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and Photo by </a:t>
            </a:r>
            <a:r>
              <a:rPr lang="en-US" dirty="0">
                <a:hlinkClick r:id="rId5"/>
              </a:rPr>
              <a:t>Taylor Grote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7"/>
              </a:rPr>
              <a:t>Christina @ wocintechchat.com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9"/>
              </a:rPr>
              <a:t>Mateus Campos Felipe</a:t>
            </a:r>
            <a:r>
              <a:rPr lang="en-US" dirty="0"/>
              <a:t> on </a:t>
            </a:r>
            <a:r>
              <a:rPr lang="en-US" dirty="0" err="1">
                <a:hlinkClick r:id="rId10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r>
              <a:rPr lang="en-US" dirty="0"/>
              <a:t>Photo by </a:t>
            </a:r>
            <a:r>
              <a:rPr lang="en-US" dirty="0">
                <a:hlinkClick r:id="rId11"/>
              </a:rPr>
              <a:t>Andrew </a:t>
            </a:r>
            <a:r>
              <a:rPr lang="en-US" dirty="0" err="1">
                <a:hlinkClick r:id="rId11"/>
              </a:rPr>
              <a:t>Stutesman</a:t>
            </a:r>
            <a:r>
              <a:rPr lang="en-US" dirty="0"/>
              <a:t> on </a:t>
            </a:r>
            <a:r>
              <a:rPr lang="en-US" dirty="0" err="1">
                <a:hlinkClick r:id="rId12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3"/>
              </a:rPr>
              <a:t>eberhard</a:t>
            </a:r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3"/>
              </a:rPr>
              <a:t> </a:t>
            </a:r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3"/>
              </a:rPr>
              <a:t>grossgasteiger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4"/>
              </a:rPr>
              <a:t>Pexels</a:t>
            </a:r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38114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LinkedIn Sales Navigato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and Photo by </a:t>
            </a:r>
            <a:r>
              <a:rPr lang="en-US" dirty="0">
                <a:hlinkClick r:id="rId5"/>
              </a:rPr>
              <a:t>Taylor Grote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7"/>
              </a:rPr>
              <a:t>Christina @ wocintechchat.com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H. Emre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from </a:t>
            </a:r>
            <a:r>
              <a:rPr lang="en-US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Pexels</a:t>
            </a:r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11"/>
              </a:rPr>
              <a:t>Mateus Campos Felipe</a:t>
            </a:r>
            <a:r>
              <a:rPr lang="en-US" dirty="0"/>
              <a:t> on </a:t>
            </a:r>
            <a:r>
              <a:rPr lang="en-US" dirty="0" err="1">
                <a:hlinkClick r:id="rId12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99862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3"/>
              </a:rPr>
              <a:t>LinkedIn Sales Navigato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and Photo by </a:t>
            </a:r>
            <a:r>
              <a:rPr lang="en-US" dirty="0">
                <a:hlinkClick r:id="rId5"/>
              </a:rPr>
              <a:t>Taylor Grote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7"/>
              </a:rPr>
              <a:t>Christina @ wocintechchat.com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 by </a:t>
            </a:r>
            <a:r>
              <a:rPr lang="en-US" dirty="0">
                <a:hlinkClick r:id="rId9"/>
              </a:rPr>
              <a:t>Mateus Campos Felipe</a:t>
            </a:r>
            <a:r>
              <a:rPr lang="en-US" dirty="0"/>
              <a:t> on </a:t>
            </a:r>
            <a:r>
              <a:rPr lang="en-US" dirty="0" err="1">
                <a:hlinkClick r:id="rId10"/>
              </a:rPr>
              <a:t>Unsplash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Photo by </a:t>
            </a:r>
            <a:r>
              <a:rPr lang="pt-BR" dirty="0">
                <a:hlinkClick r:id="rId11"/>
              </a:rPr>
              <a:t>Rodrigo dos Reis</a:t>
            </a:r>
            <a:r>
              <a:rPr lang="pt-BR" dirty="0"/>
              <a:t> on </a:t>
            </a:r>
            <a:r>
              <a:rPr lang="pt-BR" dirty="0">
                <a:hlinkClick r:id="rId12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F65765-75C1-445F-8F2B-74A050499A5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07944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DED028B-09FB-4834-9BF8-F16F500582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672B5F3D-1279-45CE-9305-61A4AA95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A19545C-1F0C-4CF6-A088-1629EC11A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AD116F-7AF7-4B04-99D1-2159F919FC2C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3E8E56-14A8-4BC6-AE28-087DD4AD0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B18A4AC-3ADE-4A20-ADB2-B76C2D16D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86639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9A3EC6-F26F-492F-9E53-3C7147B82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EB1E868-FAB0-41A1-BFE2-2B6C362A2B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77C430C-DB99-4E18-BF8D-39E89EA0A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25E70-944A-4316-AE3E-350C2B28691A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91B401B-9E9F-49A5-8BDC-665A3719A3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7DDBBF2-3745-4D89-B6C5-EFE46DFF1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16280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0B330A3F-43D2-4B6E-B0B3-2D79C2E05F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4BFA223-BAD5-416A-BFE5-5CC01A62FA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48FB3DA-FDB5-4CF4-B95C-C638A4E03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7A8C-08DE-4FA0-A123-130901ABF93B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82E67A1-2D67-44B7-A6B0-57201DC0D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DD6640F-58D9-405F-AE04-468D227D8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51483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1F65A7E-6EA0-451B-8EC4-413D8FFB1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B129CC9-7C29-4611-A4F3-7AB17AA9D2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C76DD90-C888-4B32-8FAF-4F18C6D22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E3F71-9205-431C-9AD8-1034E474D4B9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B0DED6E-FC47-4310-84DF-EE5923A58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F7A2D1F-1029-4AFA-A8BD-058B3F2D5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48727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07774A-7D87-425C-A74A-7C13BCBCE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65A12CB-48F1-436B-8CD3-35427D7A36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ECAAE24-0B8A-4D75-B5DC-BFE6787D6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099655-7370-45B2-8B0E-233F124BAE98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2102EDB-8CE9-4F24-9B0C-E5D701A4A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E953DAF-3D9D-4F06-8820-EB5A41C67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87859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B21BB6-B533-4FA1-982A-31054410D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673A2D5-57BA-445F-BEC8-2B50446B16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67401AD-76E6-4419-B038-B733223DFC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47F5F75-7F8D-4DA3-BF0A-3FFF17128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63541-D012-4194-AF21-51D8EC0822C4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DB27F5F-6652-4144-87EE-429A43CDAD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C937567-59DC-4913-93A8-8882B1C31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57616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80F90F-B484-4F11-8760-DD4DF1F9E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6E07622-3C3F-4AD3-A7BD-ABF419B5C6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3109E31-471C-4C5D-8DBD-0457BD3732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B5A45D7-F7DE-4A30-9BB3-40ACB58F6D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69A5776-8607-46F1-BBF3-329B1FDB7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62FD748C-2455-4F6C-95A0-0A1D23E59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25F499-1B70-4DAD-8D13-7D8FBCAD767F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26CD6D7-634D-4F26-BCA4-8F087621B7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CF2F1CF-6AD0-40CA-8DFC-FC3C1DAF1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8748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91307E1-C6D9-4F85-A305-9AC8EB7A6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BC9456C-00B3-4E31-8794-2019C7D0D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ACDE74-E6E4-44F1-BDEA-7B671C96966E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DE69389-3D30-4E79-8F33-D8C8EAC87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569F19B-32F4-4EB6-B2E0-0FFAFF513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52095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A427C39-903B-45DF-8160-1F9C0FD2CD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A4FB7-7968-4FDF-B4BF-7CE3F07B6182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1C263A9-C3F9-41FE-AC37-328FA2210B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A5F74BD-B000-484B-BBD3-715FEFA3B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77862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294BE3-3019-455D-A8D8-7417E6907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4C6F5C1-4E35-4FF8-807F-328C3B13B8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26C6599-918D-42F0-92A6-1AC7FBD45B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BE500DEF-E159-433E-B153-C9231DBD2E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51F96-36D2-4226-8214-5AE8A05FBFD9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FDCD0B4B-3C6F-48C0-A491-7B8FE75209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494639D-75B1-4B1A-815E-30BDEDAF4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74640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DAC9BF7-9294-4D01-9A18-676D5EA2C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47475D1-F05A-4102-B08F-F06EDDBA6B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8E0A35F-BB04-4813-A82F-CF9175FAF7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68EB0DE-B7CC-46D1-B5F0-2C34BA2456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AF2C2-4F1E-4393-9866-B26A9F0640A7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3C052202-5BE2-4141-84E3-009D10EAC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D60D96E-2D20-4F2E-8BBE-B678FB71A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43480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B54214AE-DC27-4E1E-9DE5-5A536EFE18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438972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31" name="think-cell Slide" r:id="rId16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5F0D241A-92F9-4D63-865C-CAE6191FBEA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A0B18250-8525-4D3C-AA4F-4E1A9223E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91" y="365126"/>
            <a:ext cx="10978019" cy="8248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1FB38E5-1969-4BC2-B85C-D49A9615CF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6991" y="1390389"/>
            <a:ext cx="10978019" cy="47865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A42DB4D-CBA4-4D0A-B0C5-65AD64D1E0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699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46C06B-F8FF-41AC-A0CB-07398C714376}" type="datetime1">
              <a:rPr lang="en-US" smtClean="0"/>
              <a:pPr/>
              <a:t>11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ADC6211-CEDF-4D20-B39E-988E18CA39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9C5B189-5A6C-4A83-B061-002C9E32D5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4181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17A62E-F524-4A84-BB45-2464B8E84E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18123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5.xml"/><Relationship Id="rId7" Type="http://schemas.openxmlformats.org/officeDocument/2006/relationships/image" Target="../media/image7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10" Type="http://schemas.microsoft.com/office/2007/relationships/hdphoto" Target="../media/hdphoto5.wdp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9.jpeg"/><Relationship Id="rId12" Type="http://schemas.openxmlformats.org/officeDocument/2006/relationships/image" Target="../media/image1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1.jpe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microsoft.com/office/2007/relationships/hdphoto" Target="../media/hdphoto6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0D9B5884-C8B2-4576-A01F-7900DA8D22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0976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47" name="think-cell Slide" r:id="rId5" imgW="360" imgH="360" progId="">
              <p:embed/>
            </p:oleObj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44177A0-A953-4752-8754-E323D933CF8B}"/>
              </a:ext>
            </a:extLst>
          </p:cNvPr>
          <p:cNvSpPr/>
          <p:nvPr/>
        </p:nvSpPr>
        <p:spPr>
          <a:xfrm>
            <a:off x="0" y="4038600"/>
            <a:ext cx="12191998" cy="2819400"/>
          </a:xfrm>
          <a:prstGeom prst="rect">
            <a:avLst/>
          </a:prstGeom>
          <a:solidFill>
            <a:srgbClr val="17223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84CA47BE-5B75-4CE2-920D-913B37E7F8F7}"/>
              </a:ext>
            </a:extLst>
          </p:cNvPr>
          <p:cNvSpPr/>
          <p:nvPr/>
        </p:nvSpPr>
        <p:spPr>
          <a:xfrm>
            <a:off x="504919" y="3988184"/>
            <a:ext cx="1169100" cy="151495"/>
          </a:xfrm>
          <a:prstGeom prst="roundRect">
            <a:avLst>
              <a:gd name="adj" fmla="val 50000"/>
            </a:avLst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A98CBF2B-E6AA-4BE3-85CA-3670A78BABAD}"/>
              </a:ext>
            </a:extLst>
          </p:cNvPr>
          <p:cNvSpPr txBox="1"/>
          <p:nvPr/>
        </p:nvSpPr>
        <p:spPr>
          <a:xfrm>
            <a:off x="504918" y="4524970"/>
            <a:ext cx="11020331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Georgia" panose="02040502050405020303" pitchFamily="18" charset="0"/>
                <a:cs typeface="Segoe UI Semibold" panose="020B0702040204020203" pitchFamily="34" charset="0"/>
              </a:rPr>
              <a:t>Client testimonials </a:t>
            </a:r>
            <a:r>
              <a:rPr lang="en-US" sz="6000" b="1" dirty="0" err="1">
                <a:solidFill>
                  <a:schemeClr val="bg1"/>
                </a:solidFill>
                <a:latin typeface="Georgia" panose="02040502050405020303" pitchFamily="18" charset="0"/>
                <a:cs typeface="Segoe UI Semibold" panose="020B0702040204020203" pitchFamily="34" charset="0"/>
              </a:rPr>
              <a:t>powerpoint</a:t>
            </a:r>
            <a:r>
              <a:rPr lang="en-US" sz="6000" b="1" dirty="0">
                <a:solidFill>
                  <a:schemeClr val="bg1"/>
                </a:solidFill>
                <a:latin typeface="Georgia" panose="02040502050405020303" pitchFamily="18" charset="0"/>
                <a:cs typeface="Segoe UI Semibold" panose="020B0702040204020203" pitchFamily="34" charset="0"/>
              </a:rPr>
              <a:t>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1264657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B41C3F4-B27C-4B75-8700-B438B51FF09A}"/>
              </a:ext>
            </a:extLst>
          </p:cNvPr>
          <p:cNvSpPr/>
          <p:nvPr/>
        </p:nvSpPr>
        <p:spPr>
          <a:xfrm>
            <a:off x="0" y="0"/>
            <a:ext cx="12192000" cy="3886200"/>
          </a:xfrm>
          <a:prstGeom prst="rect">
            <a:avLst/>
          </a:prstGeom>
          <a:solidFill>
            <a:srgbClr val="17223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CC699318-5722-4298-8CBD-F0AD5411FA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103099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268" name="think-cell Slide" r:id="rId5" imgW="360" imgH="360" progId="">
              <p:embed/>
            </p:oleObj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9623B4E9-FDAB-4B51-BB4E-26CDF2BE37E5}"/>
              </a:ext>
            </a:extLst>
          </p:cNvPr>
          <p:cNvGrpSpPr/>
          <p:nvPr/>
        </p:nvGrpSpPr>
        <p:grpSpPr>
          <a:xfrm>
            <a:off x="798999" y="3311723"/>
            <a:ext cx="1125052" cy="1125052"/>
            <a:chOff x="798998" y="3218348"/>
            <a:chExt cx="1259505" cy="125950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A8920036-9057-46E1-AB53-49100990C7DF}"/>
                </a:ext>
              </a:extLst>
            </p:cNvPr>
            <p:cNvSpPr/>
            <p:nvPr/>
          </p:nvSpPr>
          <p:spPr>
            <a:xfrm>
              <a:off x="798998" y="3218348"/>
              <a:ext cx="1259505" cy="1259505"/>
            </a:xfrm>
            <a:prstGeom prst="rect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xmlns="" id="{FEBDA270-5D44-428B-B7D5-6F6510C8392A}"/>
                </a:ext>
              </a:extLst>
            </p:cNvPr>
            <p:cNvGrpSpPr/>
            <p:nvPr/>
          </p:nvGrpSpPr>
          <p:grpSpPr>
            <a:xfrm>
              <a:off x="1081770" y="3501120"/>
              <a:ext cx="693960" cy="693960"/>
              <a:chOff x="6276975" y="3175"/>
              <a:chExt cx="360363" cy="360363"/>
            </a:xfrm>
            <a:solidFill>
              <a:schemeClr val="bg1"/>
            </a:solidFill>
          </p:grpSpPr>
          <p:sp>
            <p:nvSpPr>
              <p:cNvPr id="15" name="Freeform 115">
                <a:extLst>
                  <a:ext uri="{FF2B5EF4-FFF2-40B4-BE49-F238E27FC236}">
                    <a16:creationId xmlns:a16="http://schemas.microsoft.com/office/drawing/2014/main" xmlns="" id="{637F94B5-7950-4B24-BE56-F52A88A218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26200" y="3175"/>
                <a:ext cx="211138" cy="252413"/>
              </a:xfrm>
              <a:custGeom>
                <a:avLst/>
                <a:gdLst>
                  <a:gd name="T0" fmla="*/ 28 w 56"/>
                  <a:gd name="T1" fmla="*/ 0 h 67"/>
                  <a:gd name="T2" fmla="*/ 0 w 56"/>
                  <a:gd name="T3" fmla="*/ 22 h 67"/>
                  <a:gd name="T4" fmla="*/ 0 w 56"/>
                  <a:gd name="T5" fmla="*/ 25 h 67"/>
                  <a:gd name="T6" fmla="*/ 4 w 56"/>
                  <a:gd name="T7" fmla="*/ 26 h 67"/>
                  <a:gd name="T8" fmla="*/ 12 w 56"/>
                  <a:gd name="T9" fmla="*/ 35 h 67"/>
                  <a:gd name="T10" fmla="*/ 12 w 56"/>
                  <a:gd name="T11" fmla="*/ 42 h 67"/>
                  <a:gd name="T12" fmla="*/ 11 w 56"/>
                  <a:gd name="T13" fmla="*/ 44 h 67"/>
                  <a:gd name="T14" fmla="*/ 12 w 56"/>
                  <a:gd name="T15" fmla="*/ 48 h 67"/>
                  <a:gd name="T16" fmla="*/ 17 w 56"/>
                  <a:gd name="T17" fmla="*/ 50 h 67"/>
                  <a:gd name="T18" fmla="*/ 22 w 56"/>
                  <a:gd name="T19" fmla="*/ 51 h 67"/>
                  <a:gd name="T20" fmla="*/ 22 w 56"/>
                  <a:gd name="T21" fmla="*/ 62 h 67"/>
                  <a:gd name="T22" fmla="*/ 22 w 56"/>
                  <a:gd name="T23" fmla="*/ 67 h 67"/>
                  <a:gd name="T24" fmla="*/ 25 w 56"/>
                  <a:gd name="T25" fmla="*/ 63 h 67"/>
                  <a:gd name="T26" fmla="*/ 39 w 56"/>
                  <a:gd name="T27" fmla="*/ 50 h 67"/>
                  <a:gd name="T28" fmla="*/ 56 w 56"/>
                  <a:gd name="T29" fmla="*/ 26 h 67"/>
                  <a:gd name="T30" fmla="*/ 28 w 56"/>
                  <a:gd name="T31" fmla="*/ 0 h 67"/>
                  <a:gd name="T32" fmla="*/ 20 w 56"/>
                  <a:gd name="T33" fmla="*/ 30 h 67"/>
                  <a:gd name="T34" fmla="*/ 16 w 56"/>
                  <a:gd name="T35" fmla="*/ 30 h 67"/>
                  <a:gd name="T36" fmla="*/ 16 w 56"/>
                  <a:gd name="T37" fmla="*/ 26 h 67"/>
                  <a:gd name="T38" fmla="*/ 20 w 56"/>
                  <a:gd name="T39" fmla="*/ 26 h 67"/>
                  <a:gd name="T40" fmla="*/ 20 w 56"/>
                  <a:gd name="T41" fmla="*/ 30 h 67"/>
                  <a:gd name="T42" fmla="*/ 31 w 56"/>
                  <a:gd name="T43" fmla="*/ 30 h 67"/>
                  <a:gd name="T44" fmla="*/ 27 w 56"/>
                  <a:gd name="T45" fmla="*/ 30 h 67"/>
                  <a:gd name="T46" fmla="*/ 27 w 56"/>
                  <a:gd name="T47" fmla="*/ 26 h 67"/>
                  <a:gd name="T48" fmla="*/ 31 w 56"/>
                  <a:gd name="T49" fmla="*/ 26 h 67"/>
                  <a:gd name="T50" fmla="*/ 31 w 56"/>
                  <a:gd name="T51" fmla="*/ 30 h 67"/>
                  <a:gd name="T52" fmla="*/ 38 w 56"/>
                  <a:gd name="T53" fmla="*/ 26 h 67"/>
                  <a:gd name="T54" fmla="*/ 42 w 56"/>
                  <a:gd name="T55" fmla="*/ 26 h 67"/>
                  <a:gd name="T56" fmla="*/ 42 w 56"/>
                  <a:gd name="T57" fmla="*/ 30 h 67"/>
                  <a:gd name="T58" fmla="*/ 38 w 56"/>
                  <a:gd name="T59" fmla="*/ 30 h 67"/>
                  <a:gd name="T60" fmla="*/ 38 w 56"/>
                  <a:gd name="T61" fmla="*/ 2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6" h="67">
                    <a:moveTo>
                      <a:pt x="28" y="0"/>
                    </a:moveTo>
                    <a:cubicBezTo>
                      <a:pt x="14" y="0"/>
                      <a:pt x="3" y="9"/>
                      <a:pt x="0" y="22"/>
                    </a:cubicBezTo>
                    <a:cubicBezTo>
                      <a:pt x="0" y="23"/>
                      <a:pt x="0" y="24"/>
                      <a:pt x="0" y="25"/>
                    </a:cubicBezTo>
                    <a:cubicBezTo>
                      <a:pt x="1" y="25"/>
                      <a:pt x="3" y="25"/>
                      <a:pt x="4" y="26"/>
                    </a:cubicBezTo>
                    <a:cubicBezTo>
                      <a:pt x="8" y="28"/>
                      <a:pt x="11" y="31"/>
                      <a:pt x="12" y="35"/>
                    </a:cubicBezTo>
                    <a:cubicBezTo>
                      <a:pt x="12" y="37"/>
                      <a:pt x="12" y="40"/>
                      <a:pt x="12" y="42"/>
                    </a:cubicBezTo>
                    <a:cubicBezTo>
                      <a:pt x="12" y="43"/>
                      <a:pt x="11" y="44"/>
                      <a:pt x="11" y="44"/>
                    </a:cubicBezTo>
                    <a:cubicBezTo>
                      <a:pt x="12" y="45"/>
                      <a:pt x="12" y="46"/>
                      <a:pt x="12" y="48"/>
                    </a:cubicBezTo>
                    <a:cubicBezTo>
                      <a:pt x="15" y="49"/>
                      <a:pt x="17" y="50"/>
                      <a:pt x="17" y="50"/>
                    </a:cubicBezTo>
                    <a:cubicBezTo>
                      <a:pt x="19" y="51"/>
                      <a:pt x="20" y="51"/>
                      <a:pt x="22" y="51"/>
                    </a:cubicBezTo>
                    <a:cubicBezTo>
                      <a:pt x="22" y="55"/>
                      <a:pt x="22" y="60"/>
                      <a:pt x="22" y="62"/>
                    </a:cubicBezTo>
                    <a:cubicBezTo>
                      <a:pt x="22" y="67"/>
                      <a:pt x="22" y="67"/>
                      <a:pt x="22" y="67"/>
                    </a:cubicBezTo>
                    <a:cubicBezTo>
                      <a:pt x="25" y="63"/>
                      <a:pt x="25" y="63"/>
                      <a:pt x="25" y="63"/>
                    </a:cubicBezTo>
                    <a:cubicBezTo>
                      <a:pt x="33" y="56"/>
                      <a:pt x="37" y="51"/>
                      <a:pt x="39" y="50"/>
                    </a:cubicBezTo>
                    <a:cubicBezTo>
                      <a:pt x="49" y="46"/>
                      <a:pt x="56" y="36"/>
                      <a:pt x="56" y="26"/>
                    </a:cubicBezTo>
                    <a:cubicBezTo>
                      <a:pt x="56" y="12"/>
                      <a:pt x="43" y="0"/>
                      <a:pt x="28" y="0"/>
                    </a:cubicBezTo>
                    <a:close/>
                    <a:moveTo>
                      <a:pt x="20" y="30"/>
                    </a:move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20" y="26"/>
                      <a:pt x="20" y="26"/>
                      <a:pt x="20" y="26"/>
                    </a:cubicBezTo>
                    <a:lnTo>
                      <a:pt x="20" y="30"/>
                    </a:lnTo>
                    <a:close/>
                    <a:moveTo>
                      <a:pt x="31" y="30"/>
                    </a:moveTo>
                    <a:cubicBezTo>
                      <a:pt x="27" y="30"/>
                      <a:pt x="27" y="30"/>
                      <a:pt x="27" y="30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31" y="26"/>
                      <a:pt x="31" y="26"/>
                      <a:pt x="31" y="26"/>
                    </a:cubicBezTo>
                    <a:lnTo>
                      <a:pt x="31" y="30"/>
                    </a:lnTo>
                    <a:close/>
                    <a:moveTo>
                      <a:pt x="38" y="26"/>
                    </a:moveTo>
                    <a:cubicBezTo>
                      <a:pt x="42" y="26"/>
                      <a:pt x="42" y="26"/>
                      <a:pt x="42" y="26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38" y="30"/>
                      <a:pt x="38" y="30"/>
                      <a:pt x="38" y="30"/>
                    </a:cubicBezTo>
                    <a:lnTo>
                      <a:pt x="38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6" name="Freeform 116">
                <a:extLst>
                  <a:ext uri="{FF2B5EF4-FFF2-40B4-BE49-F238E27FC236}">
                    <a16:creationId xmlns:a16="http://schemas.microsoft.com/office/drawing/2014/main" xmlns="" id="{AFC1D4C8-5C17-4F4E-BB98-0F2760D6E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975" y="101600"/>
                <a:ext cx="239713" cy="261938"/>
              </a:xfrm>
              <a:custGeom>
                <a:avLst/>
                <a:gdLst>
                  <a:gd name="T0" fmla="*/ 64 w 64"/>
                  <a:gd name="T1" fmla="*/ 57 h 70"/>
                  <a:gd name="T2" fmla="*/ 42 w 64"/>
                  <a:gd name="T3" fmla="*/ 45 h 70"/>
                  <a:gd name="T4" fmla="*/ 42 w 64"/>
                  <a:gd name="T5" fmla="*/ 45 h 70"/>
                  <a:gd name="T6" fmla="*/ 42 w 64"/>
                  <a:gd name="T7" fmla="*/ 39 h 70"/>
                  <a:gd name="T8" fmla="*/ 42 w 64"/>
                  <a:gd name="T9" fmla="*/ 39 h 70"/>
                  <a:gd name="T10" fmla="*/ 46 w 64"/>
                  <a:gd name="T11" fmla="*/ 29 h 70"/>
                  <a:gd name="T12" fmla="*/ 49 w 64"/>
                  <a:gd name="T13" fmla="*/ 23 h 70"/>
                  <a:gd name="T14" fmla="*/ 47 w 64"/>
                  <a:gd name="T15" fmla="*/ 19 h 70"/>
                  <a:gd name="T16" fmla="*/ 48 w 64"/>
                  <a:gd name="T17" fmla="*/ 10 h 70"/>
                  <a:gd name="T18" fmla="*/ 21 w 64"/>
                  <a:gd name="T19" fmla="*/ 8 h 70"/>
                  <a:gd name="T20" fmla="*/ 16 w 64"/>
                  <a:gd name="T21" fmla="*/ 10 h 70"/>
                  <a:gd name="T22" fmla="*/ 16 w 64"/>
                  <a:gd name="T23" fmla="*/ 10 h 70"/>
                  <a:gd name="T24" fmla="*/ 17 w 64"/>
                  <a:gd name="T25" fmla="*/ 19 h 70"/>
                  <a:gd name="T26" fmla="*/ 15 w 64"/>
                  <a:gd name="T27" fmla="*/ 23 h 70"/>
                  <a:gd name="T28" fmla="*/ 18 w 64"/>
                  <a:gd name="T29" fmla="*/ 29 h 70"/>
                  <a:gd name="T30" fmla="*/ 22 w 64"/>
                  <a:gd name="T31" fmla="*/ 39 h 70"/>
                  <a:gd name="T32" fmla="*/ 22 w 64"/>
                  <a:gd name="T33" fmla="*/ 39 h 70"/>
                  <a:gd name="T34" fmla="*/ 22 w 64"/>
                  <a:gd name="T35" fmla="*/ 45 h 70"/>
                  <a:gd name="T36" fmla="*/ 22 w 64"/>
                  <a:gd name="T37" fmla="*/ 45 h 70"/>
                  <a:gd name="T38" fmla="*/ 0 w 64"/>
                  <a:gd name="T39" fmla="*/ 57 h 70"/>
                  <a:gd name="T40" fmla="*/ 0 w 64"/>
                  <a:gd name="T41" fmla="*/ 57 h 70"/>
                  <a:gd name="T42" fmla="*/ 0 w 64"/>
                  <a:gd name="T43" fmla="*/ 58 h 70"/>
                  <a:gd name="T44" fmla="*/ 0 w 64"/>
                  <a:gd name="T45" fmla="*/ 70 h 70"/>
                  <a:gd name="T46" fmla="*/ 64 w 64"/>
                  <a:gd name="T47" fmla="*/ 70 h 70"/>
                  <a:gd name="T48" fmla="*/ 64 w 64"/>
                  <a:gd name="T49" fmla="*/ 58 h 70"/>
                  <a:gd name="T50" fmla="*/ 64 w 64"/>
                  <a:gd name="T51" fmla="*/ 57 h 70"/>
                  <a:gd name="T52" fmla="*/ 64 w 64"/>
                  <a:gd name="T53" fmla="*/ 5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4" h="70">
                    <a:moveTo>
                      <a:pt x="64" y="57"/>
                    </a:moveTo>
                    <a:cubicBezTo>
                      <a:pt x="62" y="53"/>
                      <a:pt x="49" y="48"/>
                      <a:pt x="42" y="45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5" y="37"/>
                      <a:pt x="46" y="33"/>
                      <a:pt x="46" y="29"/>
                    </a:cubicBezTo>
                    <a:cubicBezTo>
                      <a:pt x="48" y="28"/>
                      <a:pt x="49" y="26"/>
                      <a:pt x="49" y="23"/>
                    </a:cubicBezTo>
                    <a:cubicBezTo>
                      <a:pt x="49" y="22"/>
                      <a:pt x="48" y="20"/>
                      <a:pt x="47" y="19"/>
                    </a:cubicBezTo>
                    <a:cubicBezTo>
                      <a:pt x="48" y="16"/>
                      <a:pt x="49" y="13"/>
                      <a:pt x="48" y="10"/>
                    </a:cubicBezTo>
                    <a:cubicBezTo>
                      <a:pt x="46" y="0"/>
                      <a:pt x="25" y="0"/>
                      <a:pt x="21" y="8"/>
                    </a:cubicBezTo>
                    <a:cubicBezTo>
                      <a:pt x="19" y="8"/>
                      <a:pt x="17" y="8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5" y="12"/>
                      <a:pt x="16" y="16"/>
                      <a:pt x="17" y="19"/>
                    </a:cubicBezTo>
                    <a:cubicBezTo>
                      <a:pt x="16" y="20"/>
                      <a:pt x="15" y="22"/>
                      <a:pt x="15" y="23"/>
                    </a:cubicBezTo>
                    <a:cubicBezTo>
                      <a:pt x="15" y="26"/>
                      <a:pt x="16" y="28"/>
                      <a:pt x="18" y="29"/>
                    </a:cubicBezTo>
                    <a:cubicBezTo>
                      <a:pt x="18" y="33"/>
                      <a:pt x="19" y="37"/>
                      <a:pt x="22" y="39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15" y="48"/>
                      <a:pt x="2" y="53"/>
                      <a:pt x="0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4" y="58"/>
                      <a:pt x="64" y="58"/>
                      <a:pt x="64" y="58"/>
                    </a:cubicBezTo>
                    <a:cubicBezTo>
                      <a:pt x="64" y="58"/>
                      <a:pt x="64" y="58"/>
                      <a:pt x="64" y="57"/>
                    </a:cubicBezTo>
                    <a:cubicBezTo>
                      <a:pt x="64" y="57"/>
                      <a:pt x="64" y="57"/>
                      <a:pt x="64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6D358982-2E3B-4CCF-A2D2-DE01DB03147C}"/>
              </a:ext>
            </a:extLst>
          </p:cNvPr>
          <p:cNvSpPr txBox="1"/>
          <p:nvPr/>
        </p:nvSpPr>
        <p:spPr>
          <a:xfrm>
            <a:off x="798998" y="4858667"/>
            <a:ext cx="1072625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  <a:cs typeface="Segoe UI Semibold" panose="020B0702040204020203" pitchFamily="34" charset="0"/>
              </a:rPr>
              <a:t>THANK YOU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8172E6FE-5F2B-4E3B-8A4B-CD1343A4022E}"/>
              </a:ext>
            </a:extLst>
          </p:cNvPr>
          <p:cNvCxnSpPr>
            <a:cxnSpLocks/>
          </p:cNvCxnSpPr>
          <p:nvPr/>
        </p:nvCxnSpPr>
        <p:spPr>
          <a:xfrm>
            <a:off x="7010400" y="5700617"/>
            <a:ext cx="29908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277268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РЕКЛАМНЫЕ, ПРОДАЮЩИЕ, PR </a:t>
            </a:r>
          </a:p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И ИНФО-ПРЕЗЕНТАЦИИ ОТ “ПАНДА-КОПИРАЙТИНГ”</a:t>
            </a: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>
                <a:latin typeface="Podkova Regular Bold"/>
              </a:rPr>
              <a:t>СТОИМОСТЬ “ПОД КЛЮЧ” ОТ $90 | ЯЗЫКИ: РУССКИЙ, АНГЛИЙСКИЙ, ФРАНЦУЗСКИЙ, НЕМЕЦКИЙ</a:t>
            </a: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ильны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одающи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екс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в 5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тилях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из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70 000+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лат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лицензион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PRO-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шаблон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Готовность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о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36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час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 err="1">
                <a:solidFill>
                  <a:srgbClr val="020301"/>
                </a:solidFill>
                <a:latin typeface="Podkova Regular Bold"/>
              </a:rPr>
              <a:t>Дополнительн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: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е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брендбук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компани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ил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четаний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цветов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д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зда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вашег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фирсти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 и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 err="1">
                <a:latin typeface="Podkova Regular Bold"/>
              </a:rPr>
              <a:t>Главный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сайт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проекта</a:t>
            </a:r>
            <a:r>
              <a:rPr lang="en-US" sz="1200" spc="36" dirty="0">
                <a:latin typeface="Podkova Regular Bold"/>
              </a:rPr>
              <a:t>: 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акж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“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люч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”: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маркетинг-ки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рошюр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, White Paper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уклет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оммерчески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едложения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1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8848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 smtClean="0">
                <a:solidFill>
                  <a:srgbClr val="020301"/>
                </a:solidFill>
                <a:latin typeface="Podkova ExtraBold"/>
              </a:rPr>
              <a:t>THE ADVERTISING, MARKETING, PR, AND INFO-PRESENTATIONS BY PANDA COPYWRITING PROJECT</a:t>
            </a:r>
            <a:endParaRPr lang="ru-RU" sz="2100" b="1" dirty="0" smtClean="0"/>
          </a:p>
          <a:p>
            <a:pPr>
              <a:lnSpc>
                <a:spcPts val="2347"/>
              </a:lnSpc>
            </a:pPr>
            <a:endParaRPr lang="en-US" sz="2100" spc="75" dirty="0">
              <a:solidFill>
                <a:srgbClr val="020301"/>
              </a:solidFill>
              <a:latin typeface="Podkova ExtraBold"/>
            </a:endParaRP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 smtClean="0">
                <a:latin typeface="Podkova Regular Bold"/>
              </a:rPr>
              <a:t>A TURNKEY COST STARTS AT $</a:t>
            </a:r>
            <a:r>
              <a:rPr lang="en-US" sz="1200" spc="43" dirty="0">
                <a:latin typeface="Podkova Regular Bold"/>
              </a:rPr>
              <a:t>90 | </a:t>
            </a:r>
            <a:r>
              <a:rPr lang="en-US" sz="1200" spc="43" dirty="0" smtClean="0">
                <a:latin typeface="Podkova Regular Bold"/>
              </a:rPr>
              <a:t>LANGUAGES: RUSSIAN, ENGLISH, FRENCH, AND GERMAN</a:t>
            </a:r>
            <a:endParaRPr lang="en-US" sz="1200" spc="43" dirty="0">
              <a:latin typeface="Podkova Regular Bold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5 styles of the powerful selling text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A selection of 70,000+ paid licensed PRO template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An availability from 36 hour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 smtClean="0">
                <a:solidFill>
                  <a:srgbClr val="020301"/>
                </a:solidFill>
                <a:latin typeface="Podkova Regular Bold"/>
              </a:rPr>
              <a:t>Additionally: design for a company’s brand book or selection of color combinations to create your corporate identity and design</a:t>
            </a:r>
            <a:endParaRPr lang="en-US" sz="1600" spc="48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 smtClean="0">
                <a:latin typeface="Podkova Regular Bold"/>
              </a:rPr>
              <a:t>The main project’s website: </a:t>
            </a:r>
            <a:r>
              <a:rPr lang="en-US" sz="1200" spc="36" dirty="0">
                <a:latin typeface="Podkova Regular Bold"/>
              </a:rPr>
              <a:t>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Plus the turnkey: marketing kit, brochures, White Paper, booklets, and business proposal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1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97087E7-9944-485C-9FF6-34E6A45D91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69730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139" name="think-cell Slide" r:id="rId5" imgW="360" imgH="360" progId="">
              <p:embed/>
            </p:oleObj>
          </a:graphicData>
        </a:graphic>
      </p:graphicFrame>
      <p:pic>
        <p:nvPicPr>
          <p:cNvPr id="17" name="Picture 16" descr="A boat in the water with a mountain in the background&#10;&#10;Description automatically generated">
            <a:extLst>
              <a:ext uri="{FF2B5EF4-FFF2-40B4-BE49-F238E27FC236}">
                <a16:creationId xmlns:a16="http://schemas.microsoft.com/office/drawing/2014/main" xmlns="" id="{07E47D4D-EDA0-45DC-816E-BD0EDDA1B98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saturation sa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 t="22013" b="3123"/>
          <a:stretch/>
        </p:blipFill>
        <p:spPr>
          <a:xfrm>
            <a:off x="0" y="861920"/>
            <a:ext cx="12192000" cy="51341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F1095DD5-1414-46EA-BA78-E280017F8131}"/>
              </a:ext>
            </a:extLst>
          </p:cNvPr>
          <p:cNvSpPr/>
          <p:nvPr/>
        </p:nvSpPr>
        <p:spPr>
          <a:xfrm>
            <a:off x="-21771" y="861920"/>
            <a:ext cx="12213771" cy="5134160"/>
          </a:xfrm>
          <a:prstGeom prst="rect">
            <a:avLst/>
          </a:prstGeom>
          <a:solidFill>
            <a:srgbClr val="17223B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1048076D-F795-4C9A-8718-9E0343A95C02}"/>
              </a:ext>
            </a:extLst>
          </p:cNvPr>
          <p:cNvSpPr/>
          <p:nvPr/>
        </p:nvSpPr>
        <p:spPr>
          <a:xfrm>
            <a:off x="-608980" y="618041"/>
            <a:ext cx="5873432" cy="58734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CE43D148-216F-462E-B372-41843A31173E}"/>
              </a:ext>
            </a:extLst>
          </p:cNvPr>
          <p:cNvGrpSpPr/>
          <p:nvPr/>
        </p:nvGrpSpPr>
        <p:grpSpPr>
          <a:xfrm>
            <a:off x="5612895" y="2136884"/>
            <a:ext cx="5330371" cy="2719632"/>
            <a:chOff x="6366329" y="3305275"/>
            <a:chExt cx="5330371" cy="27196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CAD74F8C-CD0D-4C6E-99FD-15ED9BB960A8}"/>
                </a:ext>
              </a:extLst>
            </p:cNvPr>
            <p:cNvSpPr txBox="1"/>
            <p:nvPr/>
          </p:nvSpPr>
          <p:spPr>
            <a:xfrm>
              <a:off x="7073900" y="3305275"/>
              <a:ext cx="4622800" cy="21544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Lorem ipsum dolor sit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amet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,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consectetur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adipiscing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elit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.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Pellentesque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 et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pretium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risus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. Maecenas fermentum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eleifend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sem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nec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 </a:t>
              </a:r>
              <a:r>
                <a:rPr lang="en-US" sz="2800" i="1" dirty="0" err="1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pretium</a:t>
              </a:r>
              <a:r>
                <a:rPr lang="en-US" sz="2800" i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.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EF17F347-8E80-49BC-AF1C-DD35CD75E124}"/>
                </a:ext>
              </a:extLst>
            </p:cNvPr>
            <p:cNvSpPr txBox="1"/>
            <p:nvPr/>
          </p:nvSpPr>
          <p:spPr>
            <a:xfrm>
              <a:off x="6366329" y="5717130"/>
              <a:ext cx="533037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2000" b="1" dirty="0">
                  <a:solidFill>
                    <a:schemeClr val="bg1"/>
                  </a:solidFill>
                  <a:latin typeface="Georgia" panose="02040502050405020303" pitchFamily="18" charset="0"/>
                  <a:cs typeface="Segoe UI Semibold" panose="020B0702040204020203" pitchFamily="34" charset="0"/>
                </a:rPr>
                <a:t>LOREM IPSUM </a:t>
              </a:r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B53C0CD2-97AD-451E-A35C-54314B86F733}"/>
              </a:ext>
            </a:extLst>
          </p:cNvPr>
          <p:cNvSpPr/>
          <p:nvPr/>
        </p:nvSpPr>
        <p:spPr>
          <a:xfrm>
            <a:off x="3055716" y="3694972"/>
            <a:ext cx="2868833" cy="2868833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DE9FDC3-5B58-4D71-BF0F-266BCE9E4721}"/>
              </a:ext>
            </a:extLst>
          </p:cNvPr>
          <p:cNvSpPr/>
          <p:nvPr/>
        </p:nvSpPr>
        <p:spPr>
          <a:xfrm>
            <a:off x="5359034" y="1524954"/>
            <a:ext cx="1152880" cy="22313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900" b="1" spc="600" dirty="0">
                <a:solidFill>
                  <a:srgbClr val="EE4540"/>
                </a:solidFill>
                <a:latin typeface="Helvetica" panose="020B0604020202020204" pitchFamily="2" charset="0"/>
                <a:cs typeface="Calibri" panose="020F0502020204030204" pitchFamily="34" charset="0"/>
              </a:rPr>
              <a:t>“</a:t>
            </a:r>
            <a:endParaRPr lang="en-US" sz="13900" spc="600" dirty="0">
              <a:solidFill>
                <a:srgbClr val="EE4540"/>
              </a:solidFill>
              <a:latin typeface="Helvetica" panose="020B0604020202020204" pitchFamily="2" charset="0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42C762B-4808-41D5-BF3F-64BA16770665}"/>
              </a:ext>
            </a:extLst>
          </p:cNvPr>
          <p:cNvSpPr/>
          <p:nvPr/>
        </p:nvSpPr>
        <p:spPr>
          <a:xfrm rot="10800000">
            <a:off x="10863493" y="3352624"/>
            <a:ext cx="1152880" cy="22313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900" b="1" spc="600" dirty="0">
                <a:solidFill>
                  <a:srgbClr val="EE4540"/>
                </a:solidFill>
                <a:latin typeface="Helvetica" panose="020B0604020202020204" pitchFamily="2" charset="0"/>
                <a:cs typeface="Calibri" panose="020F0502020204030204" pitchFamily="34" charset="0"/>
              </a:rPr>
              <a:t>“</a:t>
            </a:r>
            <a:endParaRPr lang="en-US" sz="13900" spc="600" dirty="0">
              <a:solidFill>
                <a:srgbClr val="EE4540"/>
              </a:solidFill>
              <a:latin typeface="Helvetica" panose="020B0604020202020204" pitchFamily="2" charset="0"/>
              <a:cs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CE8680E7-2700-4288-A1AE-906CC56EF573}"/>
              </a:ext>
            </a:extLst>
          </p:cNvPr>
          <p:cNvSpPr/>
          <p:nvPr/>
        </p:nvSpPr>
        <p:spPr>
          <a:xfrm>
            <a:off x="10728793" y="-460676"/>
            <a:ext cx="2868833" cy="2868833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xmlns="" id="{0D15B703-A0AD-495B-9030-A588355CB8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97099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9AD1A62-C69F-435A-8D7B-8014D27FB0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743937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97" name="think-cell Slide" r:id="rId6" imgW="360" imgH="360" progId="">
              <p:embed/>
            </p:oleObj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BF468729-9D53-4D8A-9BFD-410FC52E89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8" name="Picture 17" descr="A dining room table in front of a window&#10;&#10;Description automatically generated">
            <a:extLst>
              <a:ext uri="{FF2B5EF4-FFF2-40B4-BE49-F238E27FC236}">
                <a16:creationId xmlns:a16="http://schemas.microsoft.com/office/drawing/2014/main" xmlns="" id="{66F79178-52FF-4550-8653-68A7D3D9221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18092" r="8000" b="20142"/>
          <a:stretch/>
        </p:blipFill>
        <p:spPr>
          <a:xfrm>
            <a:off x="-19050" y="1936734"/>
            <a:ext cx="10077450" cy="381164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48849CCC-F767-454F-97F4-43CFE21C6D85}"/>
              </a:ext>
            </a:extLst>
          </p:cNvPr>
          <p:cNvSpPr/>
          <p:nvPr/>
        </p:nvSpPr>
        <p:spPr>
          <a:xfrm>
            <a:off x="-21771" y="1936734"/>
            <a:ext cx="10080171" cy="3811649"/>
          </a:xfrm>
          <a:prstGeom prst="rect">
            <a:avLst/>
          </a:prstGeom>
          <a:solidFill>
            <a:srgbClr val="17223B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E53CF96-F493-412F-81C0-AA78C6582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Testimonials</a:t>
            </a:r>
          </a:p>
        </p:txBody>
      </p:sp>
      <p:sp>
        <p:nvSpPr>
          <p:cNvPr id="8" name="Subtitle 176">
            <a:extLst>
              <a:ext uri="{FF2B5EF4-FFF2-40B4-BE49-F238E27FC236}">
                <a16:creationId xmlns:a16="http://schemas.microsoft.com/office/drawing/2014/main" xmlns="" id="{9E496959-C25D-41D2-AADA-64A58A439FDB}"/>
              </a:ext>
            </a:extLst>
          </p:cNvPr>
          <p:cNvSpPr txBox="1">
            <a:spLocks/>
          </p:cNvSpPr>
          <p:nvPr/>
        </p:nvSpPr>
        <p:spPr>
          <a:xfrm>
            <a:off x="925600" y="2420540"/>
            <a:ext cx="7281140" cy="230832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facilis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cursus. Cras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qu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apib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ur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eifend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rcu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Class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pten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taciti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ciosqu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ad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itora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torquen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per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ubia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nostra, per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incepto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himenaeo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iam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tell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obort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ut</a:t>
            </a:r>
            <a:endParaRPr lang="en-ID" sz="20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0" name="Subtitle 176">
            <a:extLst>
              <a:ext uri="{FF2B5EF4-FFF2-40B4-BE49-F238E27FC236}">
                <a16:creationId xmlns:a16="http://schemas.microsoft.com/office/drawing/2014/main" xmlns="" id="{45E88FC6-8B32-4FEB-959F-8587D05F143D}"/>
              </a:ext>
            </a:extLst>
          </p:cNvPr>
          <p:cNvSpPr txBox="1">
            <a:spLocks/>
          </p:cNvSpPr>
          <p:nvPr/>
        </p:nvSpPr>
        <p:spPr>
          <a:xfrm>
            <a:off x="721291" y="4999910"/>
            <a:ext cx="7485449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24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2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24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2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endParaRPr lang="en-ID" sz="24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9A6CB16F-D661-47B8-8222-572489958048}"/>
              </a:ext>
            </a:extLst>
          </p:cNvPr>
          <p:cNvGrpSpPr/>
          <p:nvPr/>
        </p:nvGrpSpPr>
        <p:grpSpPr>
          <a:xfrm>
            <a:off x="504919" y="2491580"/>
            <a:ext cx="280343" cy="209948"/>
            <a:chOff x="6997700" y="1849438"/>
            <a:chExt cx="360363" cy="269875"/>
          </a:xfrm>
          <a:solidFill>
            <a:schemeClr val="bg1"/>
          </a:solidFill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3DBDE8B1-54CE-4DE8-84C4-4585EF680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7700" y="1849438"/>
              <a:ext cx="173038" cy="269875"/>
            </a:xfrm>
            <a:custGeom>
              <a:avLst/>
              <a:gdLst>
                <a:gd name="T0" fmla="*/ 44 w 46"/>
                <a:gd name="T1" fmla="*/ 0 h 72"/>
                <a:gd name="T2" fmla="*/ 0 w 46"/>
                <a:gd name="T3" fmla="*/ 44 h 72"/>
                <a:gd name="T4" fmla="*/ 0 w 46"/>
                <a:gd name="T5" fmla="*/ 50 h 72"/>
                <a:gd name="T6" fmla="*/ 22 w 46"/>
                <a:gd name="T7" fmla="*/ 72 h 72"/>
                <a:gd name="T8" fmla="*/ 44 w 46"/>
                <a:gd name="T9" fmla="*/ 50 h 72"/>
                <a:gd name="T10" fmla="*/ 22 w 46"/>
                <a:gd name="T11" fmla="*/ 28 h 72"/>
                <a:gd name="T12" fmla="*/ 5 w 46"/>
                <a:gd name="T13" fmla="*/ 36 h 72"/>
                <a:gd name="T14" fmla="*/ 44 w 46"/>
                <a:gd name="T15" fmla="*/ 4 h 72"/>
                <a:gd name="T16" fmla="*/ 46 w 46"/>
                <a:gd name="T17" fmla="*/ 2 h 72"/>
                <a:gd name="T18" fmla="*/ 44 w 46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72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2"/>
                    <a:pt x="10" y="72"/>
                    <a:pt x="22" y="72"/>
                  </a:cubicBezTo>
                  <a:cubicBezTo>
                    <a:pt x="34" y="72"/>
                    <a:pt x="44" y="62"/>
                    <a:pt x="44" y="50"/>
                  </a:cubicBezTo>
                  <a:cubicBezTo>
                    <a:pt x="44" y="38"/>
                    <a:pt x="34" y="28"/>
                    <a:pt x="22" y="28"/>
                  </a:cubicBezTo>
                  <a:cubicBezTo>
                    <a:pt x="15" y="28"/>
                    <a:pt x="9" y="31"/>
                    <a:pt x="5" y="36"/>
                  </a:cubicBezTo>
                  <a:cubicBezTo>
                    <a:pt x="8" y="18"/>
                    <a:pt x="25" y="4"/>
                    <a:pt x="44" y="4"/>
                  </a:cubicBezTo>
                  <a:cubicBezTo>
                    <a:pt x="45" y="4"/>
                    <a:pt x="46" y="3"/>
                    <a:pt x="46" y="2"/>
                  </a:cubicBezTo>
                  <a:cubicBezTo>
                    <a:pt x="46" y="1"/>
                    <a:pt x="45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8C2B4B33-C7E4-4610-8898-3C8B45DC9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5025" y="1849438"/>
              <a:ext cx="173038" cy="269875"/>
            </a:xfrm>
            <a:custGeom>
              <a:avLst/>
              <a:gdLst>
                <a:gd name="T0" fmla="*/ 44 w 46"/>
                <a:gd name="T1" fmla="*/ 0 h 72"/>
                <a:gd name="T2" fmla="*/ 0 w 46"/>
                <a:gd name="T3" fmla="*/ 44 h 72"/>
                <a:gd name="T4" fmla="*/ 0 w 46"/>
                <a:gd name="T5" fmla="*/ 50 h 72"/>
                <a:gd name="T6" fmla="*/ 22 w 46"/>
                <a:gd name="T7" fmla="*/ 72 h 72"/>
                <a:gd name="T8" fmla="*/ 44 w 46"/>
                <a:gd name="T9" fmla="*/ 50 h 72"/>
                <a:gd name="T10" fmla="*/ 22 w 46"/>
                <a:gd name="T11" fmla="*/ 28 h 72"/>
                <a:gd name="T12" fmla="*/ 5 w 46"/>
                <a:gd name="T13" fmla="*/ 36 h 72"/>
                <a:gd name="T14" fmla="*/ 44 w 46"/>
                <a:gd name="T15" fmla="*/ 4 h 72"/>
                <a:gd name="T16" fmla="*/ 46 w 46"/>
                <a:gd name="T17" fmla="*/ 2 h 72"/>
                <a:gd name="T18" fmla="*/ 44 w 46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72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2"/>
                    <a:pt x="10" y="72"/>
                    <a:pt x="22" y="72"/>
                  </a:cubicBezTo>
                  <a:cubicBezTo>
                    <a:pt x="34" y="72"/>
                    <a:pt x="44" y="62"/>
                    <a:pt x="44" y="50"/>
                  </a:cubicBezTo>
                  <a:cubicBezTo>
                    <a:pt x="44" y="38"/>
                    <a:pt x="34" y="28"/>
                    <a:pt x="22" y="28"/>
                  </a:cubicBezTo>
                  <a:cubicBezTo>
                    <a:pt x="15" y="28"/>
                    <a:pt x="9" y="31"/>
                    <a:pt x="5" y="36"/>
                  </a:cubicBezTo>
                  <a:cubicBezTo>
                    <a:pt x="8" y="18"/>
                    <a:pt x="25" y="4"/>
                    <a:pt x="44" y="4"/>
                  </a:cubicBezTo>
                  <a:cubicBezTo>
                    <a:pt x="45" y="4"/>
                    <a:pt x="46" y="3"/>
                    <a:pt x="46" y="2"/>
                  </a:cubicBezTo>
                  <a:cubicBezTo>
                    <a:pt x="46" y="1"/>
                    <a:pt x="45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7139E05A-6E59-464F-BA8F-7431107B38D4}"/>
              </a:ext>
            </a:extLst>
          </p:cNvPr>
          <p:cNvGrpSpPr/>
          <p:nvPr/>
        </p:nvGrpSpPr>
        <p:grpSpPr>
          <a:xfrm>
            <a:off x="7889431" y="4491087"/>
            <a:ext cx="317309" cy="237632"/>
            <a:chOff x="7718425" y="1849438"/>
            <a:chExt cx="360363" cy="269875"/>
          </a:xfrm>
          <a:solidFill>
            <a:schemeClr val="bg1"/>
          </a:solidFill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8FE60506-445B-43FF-8E15-7251B8724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849438"/>
              <a:ext cx="171450" cy="269875"/>
            </a:xfrm>
            <a:custGeom>
              <a:avLst/>
              <a:gdLst>
                <a:gd name="T0" fmla="*/ 2 w 46"/>
                <a:gd name="T1" fmla="*/ 72 h 72"/>
                <a:gd name="T2" fmla="*/ 46 w 46"/>
                <a:gd name="T3" fmla="*/ 28 h 72"/>
                <a:gd name="T4" fmla="*/ 46 w 46"/>
                <a:gd name="T5" fmla="*/ 22 h 72"/>
                <a:gd name="T6" fmla="*/ 24 w 46"/>
                <a:gd name="T7" fmla="*/ 0 h 72"/>
                <a:gd name="T8" fmla="*/ 2 w 46"/>
                <a:gd name="T9" fmla="*/ 22 h 72"/>
                <a:gd name="T10" fmla="*/ 24 w 46"/>
                <a:gd name="T11" fmla="*/ 44 h 72"/>
                <a:gd name="T12" fmla="*/ 41 w 46"/>
                <a:gd name="T13" fmla="*/ 36 h 72"/>
                <a:gd name="T14" fmla="*/ 2 w 46"/>
                <a:gd name="T15" fmla="*/ 68 h 72"/>
                <a:gd name="T16" fmla="*/ 0 w 46"/>
                <a:gd name="T17" fmla="*/ 70 h 72"/>
                <a:gd name="T18" fmla="*/ 2 w 46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72">
                  <a:moveTo>
                    <a:pt x="2" y="72"/>
                  </a:moveTo>
                  <a:cubicBezTo>
                    <a:pt x="26" y="72"/>
                    <a:pt x="46" y="52"/>
                    <a:pt x="46" y="28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10"/>
                    <a:pt x="36" y="0"/>
                    <a:pt x="24" y="0"/>
                  </a:cubicBezTo>
                  <a:cubicBezTo>
                    <a:pt x="12" y="0"/>
                    <a:pt x="2" y="10"/>
                    <a:pt x="2" y="22"/>
                  </a:cubicBezTo>
                  <a:cubicBezTo>
                    <a:pt x="2" y="34"/>
                    <a:pt x="12" y="44"/>
                    <a:pt x="24" y="44"/>
                  </a:cubicBezTo>
                  <a:cubicBezTo>
                    <a:pt x="31" y="44"/>
                    <a:pt x="37" y="41"/>
                    <a:pt x="41" y="36"/>
                  </a:cubicBezTo>
                  <a:cubicBezTo>
                    <a:pt x="38" y="54"/>
                    <a:pt x="21" y="68"/>
                    <a:pt x="2" y="68"/>
                  </a:cubicBezTo>
                  <a:cubicBezTo>
                    <a:pt x="1" y="68"/>
                    <a:pt x="0" y="69"/>
                    <a:pt x="0" y="70"/>
                  </a:cubicBezTo>
                  <a:cubicBezTo>
                    <a:pt x="0" y="71"/>
                    <a:pt x="1" y="72"/>
                    <a:pt x="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09F6B87E-17F1-4A37-B668-1344B088B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849438"/>
              <a:ext cx="173038" cy="269875"/>
            </a:xfrm>
            <a:custGeom>
              <a:avLst/>
              <a:gdLst>
                <a:gd name="T0" fmla="*/ 2 w 46"/>
                <a:gd name="T1" fmla="*/ 72 h 72"/>
                <a:gd name="T2" fmla="*/ 46 w 46"/>
                <a:gd name="T3" fmla="*/ 28 h 72"/>
                <a:gd name="T4" fmla="*/ 46 w 46"/>
                <a:gd name="T5" fmla="*/ 22 h 72"/>
                <a:gd name="T6" fmla="*/ 24 w 46"/>
                <a:gd name="T7" fmla="*/ 0 h 72"/>
                <a:gd name="T8" fmla="*/ 2 w 46"/>
                <a:gd name="T9" fmla="*/ 22 h 72"/>
                <a:gd name="T10" fmla="*/ 24 w 46"/>
                <a:gd name="T11" fmla="*/ 44 h 72"/>
                <a:gd name="T12" fmla="*/ 41 w 46"/>
                <a:gd name="T13" fmla="*/ 36 h 72"/>
                <a:gd name="T14" fmla="*/ 2 w 46"/>
                <a:gd name="T15" fmla="*/ 68 h 72"/>
                <a:gd name="T16" fmla="*/ 0 w 46"/>
                <a:gd name="T17" fmla="*/ 70 h 72"/>
                <a:gd name="T18" fmla="*/ 2 w 46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72">
                  <a:moveTo>
                    <a:pt x="2" y="72"/>
                  </a:moveTo>
                  <a:cubicBezTo>
                    <a:pt x="26" y="72"/>
                    <a:pt x="46" y="52"/>
                    <a:pt x="46" y="28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10"/>
                    <a:pt x="36" y="0"/>
                    <a:pt x="24" y="0"/>
                  </a:cubicBezTo>
                  <a:cubicBezTo>
                    <a:pt x="12" y="0"/>
                    <a:pt x="2" y="10"/>
                    <a:pt x="2" y="22"/>
                  </a:cubicBezTo>
                  <a:cubicBezTo>
                    <a:pt x="2" y="34"/>
                    <a:pt x="12" y="44"/>
                    <a:pt x="24" y="44"/>
                  </a:cubicBezTo>
                  <a:cubicBezTo>
                    <a:pt x="31" y="44"/>
                    <a:pt x="37" y="41"/>
                    <a:pt x="41" y="36"/>
                  </a:cubicBezTo>
                  <a:cubicBezTo>
                    <a:pt x="38" y="54"/>
                    <a:pt x="21" y="68"/>
                    <a:pt x="2" y="68"/>
                  </a:cubicBezTo>
                  <a:cubicBezTo>
                    <a:pt x="1" y="68"/>
                    <a:pt x="0" y="69"/>
                    <a:pt x="0" y="70"/>
                  </a:cubicBezTo>
                  <a:cubicBezTo>
                    <a:pt x="0" y="71"/>
                    <a:pt x="1" y="72"/>
                    <a:pt x="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56CA756E-489A-41ED-BEA8-7ADAE3ABBD2E}"/>
              </a:ext>
            </a:extLst>
          </p:cNvPr>
          <p:cNvSpPr/>
          <p:nvPr/>
        </p:nvSpPr>
        <p:spPr>
          <a:xfrm>
            <a:off x="504919" y="1873997"/>
            <a:ext cx="1169100" cy="151495"/>
          </a:xfrm>
          <a:prstGeom prst="roundRect">
            <a:avLst>
              <a:gd name="adj" fmla="val 50000"/>
            </a:avLst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xmlns="" id="{6D7332E2-BD81-4883-A391-0C9137357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0" name="Содержимое 1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66294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42B86B70-9000-4729-86F5-86FBC0255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21272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117" name="think-cell Slide" r:id="rId6" imgW="360" imgH="360" progId="">
              <p:embed/>
            </p:oleObj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85EB8C84-8127-48BD-9A2E-0A0DA67E44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30" name="Picture 29" descr="A view of a city&#10;&#10;Description automatically generated">
            <a:extLst>
              <a:ext uri="{FF2B5EF4-FFF2-40B4-BE49-F238E27FC236}">
                <a16:creationId xmlns:a16="http://schemas.microsoft.com/office/drawing/2014/main" xmlns="" id="{39B5B541-2D7F-4C54-843C-A12ED8B61CC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2017486" y="1426594"/>
            <a:ext cx="9567523" cy="2201522"/>
          </a:xfrm>
          <a:prstGeom prst="rect">
            <a:avLst/>
          </a:prstGeom>
        </p:spPr>
      </p:pic>
      <p:pic>
        <p:nvPicPr>
          <p:cNvPr id="31" name="Picture 30" descr="A view of a city&#10;&#10;Description automatically generated">
            <a:extLst>
              <a:ext uri="{FF2B5EF4-FFF2-40B4-BE49-F238E27FC236}">
                <a16:creationId xmlns:a16="http://schemas.microsoft.com/office/drawing/2014/main" xmlns="" id="{D2F62646-4764-4329-B389-24B9FA30E1D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06991" y="4024651"/>
            <a:ext cx="9567523" cy="220152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E5D5534-1172-484B-9B6D-B539EE9E9A52}"/>
              </a:ext>
            </a:extLst>
          </p:cNvPr>
          <p:cNvSpPr/>
          <p:nvPr/>
        </p:nvSpPr>
        <p:spPr>
          <a:xfrm>
            <a:off x="2017486" y="1426594"/>
            <a:ext cx="9567523" cy="2201522"/>
          </a:xfrm>
          <a:prstGeom prst="rect">
            <a:avLst/>
          </a:prstGeom>
          <a:solidFill>
            <a:srgbClr val="17223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4B043C4-C7D8-4991-B046-168E8E82E981}"/>
              </a:ext>
            </a:extLst>
          </p:cNvPr>
          <p:cNvSpPr/>
          <p:nvPr/>
        </p:nvSpPr>
        <p:spPr>
          <a:xfrm>
            <a:off x="606991" y="4024651"/>
            <a:ext cx="9567524" cy="2201522"/>
          </a:xfrm>
          <a:prstGeom prst="rect">
            <a:avLst/>
          </a:prstGeom>
          <a:solidFill>
            <a:srgbClr val="17223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1A44EE-23D1-443A-B78D-A55E28FA4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Testimonial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C6CAB253-729E-49A5-B0C6-FA33CAFB02FF}"/>
              </a:ext>
            </a:extLst>
          </p:cNvPr>
          <p:cNvSpPr/>
          <p:nvPr/>
        </p:nvSpPr>
        <p:spPr>
          <a:xfrm>
            <a:off x="1123818" y="1680803"/>
            <a:ext cx="1693104" cy="16931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1184A688-67F2-45B0-A014-838D1BA24E65}"/>
              </a:ext>
            </a:extLst>
          </p:cNvPr>
          <p:cNvSpPr/>
          <p:nvPr/>
        </p:nvSpPr>
        <p:spPr>
          <a:xfrm>
            <a:off x="9307098" y="4278860"/>
            <a:ext cx="1693104" cy="16931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1900B306-926F-43F4-85D9-6DEF1866F9AD}"/>
              </a:ext>
            </a:extLst>
          </p:cNvPr>
          <p:cNvGrpSpPr/>
          <p:nvPr/>
        </p:nvGrpSpPr>
        <p:grpSpPr>
          <a:xfrm>
            <a:off x="2471872" y="2296385"/>
            <a:ext cx="461940" cy="461940"/>
            <a:chOff x="2206442" y="2621577"/>
            <a:chExt cx="461940" cy="46194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xmlns="" id="{74ECE62B-E1B8-46FD-9257-F05D0FDFF3D8}"/>
                </a:ext>
              </a:extLst>
            </p:cNvPr>
            <p:cNvSpPr/>
            <p:nvPr/>
          </p:nvSpPr>
          <p:spPr>
            <a:xfrm>
              <a:off x="2206442" y="2621577"/>
              <a:ext cx="461940" cy="461940"/>
            </a:xfrm>
            <a:prstGeom prst="ellips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9EB63535-26F5-4986-99E1-18071624A44F}"/>
                </a:ext>
              </a:extLst>
            </p:cNvPr>
            <p:cNvGrpSpPr/>
            <p:nvPr/>
          </p:nvGrpSpPr>
          <p:grpSpPr>
            <a:xfrm>
              <a:off x="2310906" y="2735515"/>
              <a:ext cx="253012" cy="234065"/>
              <a:chOff x="4113213" y="3621088"/>
              <a:chExt cx="360363" cy="333375"/>
            </a:xfrm>
            <a:solidFill>
              <a:schemeClr val="bg1"/>
            </a:solidFill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xmlns="" id="{D4BB5977-B67C-440A-8399-BADF3C493E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7988" y="3725863"/>
                <a:ext cx="44450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xmlns="" id="{EFE9099C-6546-475F-AB81-225B1DA46A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22763" y="3725863"/>
                <a:ext cx="46038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8" name="Freeform 66">
                <a:extLst>
                  <a:ext uri="{FF2B5EF4-FFF2-40B4-BE49-F238E27FC236}">
                    <a16:creationId xmlns:a16="http://schemas.microsoft.com/office/drawing/2014/main" xmlns="" id="{4AE41456-04AF-4126-B136-71B73F2EC8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3213" y="3621088"/>
                <a:ext cx="360363" cy="333375"/>
              </a:xfrm>
              <a:custGeom>
                <a:avLst/>
                <a:gdLst>
                  <a:gd name="T0" fmla="*/ 48 w 96"/>
                  <a:gd name="T1" fmla="*/ 0 h 89"/>
                  <a:gd name="T2" fmla="*/ 0 w 96"/>
                  <a:gd name="T3" fmla="*/ 40 h 89"/>
                  <a:gd name="T4" fmla="*/ 13 w 96"/>
                  <a:gd name="T5" fmla="*/ 67 h 89"/>
                  <a:gd name="T6" fmla="*/ 4 w 96"/>
                  <a:gd name="T7" fmla="*/ 87 h 89"/>
                  <a:gd name="T8" fmla="*/ 4 w 96"/>
                  <a:gd name="T9" fmla="*/ 89 h 89"/>
                  <a:gd name="T10" fmla="*/ 5 w 96"/>
                  <a:gd name="T11" fmla="*/ 89 h 89"/>
                  <a:gd name="T12" fmla="*/ 6 w 96"/>
                  <a:gd name="T13" fmla="*/ 89 h 89"/>
                  <a:gd name="T14" fmla="*/ 32 w 96"/>
                  <a:gd name="T15" fmla="*/ 77 h 89"/>
                  <a:gd name="T16" fmla="*/ 48 w 96"/>
                  <a:gd name="T17" fmla="*/ 80 h 89"/>
                  <a:gd name="T18" fmla="*/ 96 w 96"/>
                  <a:gd name="T19" fmla="*/ 40 h 89"/>
                  <a:gd name="T20" fmla="*/ 48 w 96"/>
                  <a:gd name="T21" fmla="*/ 0 h 89"/>
                  <a:gd name="T22" fmla="*/ 44 w 96"/>
                  <a:gd name="T23" fmla="*/ 42 h 89"/>
                  <a:gd name="T24" fmla="*/ 44 w 96"/>
                  <a:gd name="T25" fmla="*/ 48 h 89"/>
                  <a:gd name="T26" fmla="*/ 34 w 96"/>
                  <a:gd name="T27" fmla="*/ 58 h 89"/>
                  <a:gd name="T28" fmla="*/ 32 w 96"/>
                  <a:gd name="T29" fmla="*/ 56 h 89"/>
                  <a:gd name="T30" fmla="*/ 34 w 96"/>
                  <a:gd name="T31" fmla="*/ 54 h 89"/>
                  <a:gd name="T32" fmla="*/ 40 w 96"/>
                  <a:gd name="T33" fmla="*/ 48 h 89"/>
                  <a:gd name="T34" fmla="*/ 40 w 96"/>
                  <a:gd name="T35" fmla="*/ 44 h 89"/>
                  <a:gd name="T36" fmla="*/ 26 w 96"/>
                  <a:gd name="T37" fmla="*/ 44 h 89"/>
                  <a:gd name="T38" fmla="*/ 24 w 96"/>
                  <a:gd name="T39" fmla="*/ 42 h 89"/>
                  <a:gd name="T40" fmla="*/ 24 w 96"/>
                  <a:gd name="T41" fmla="*/ 26 h 89"/>
                  <a:gd name="T42" fmla="*/ 26 w 96"/>
                  <a:gd name="T43" fmla="*/ 24 h 89"/>
                  <a:gd name="T44" fmla="*/ 42 w 96"/>
                  <a:gd name="T45" fmla="*/ 24 h 89"/>
                  <a:gd name="T46" fmla="*/ 44 w 96"/>
                  <a:gd name="T47" fmla="*/ 26 h 89"/>
                  <a:gd name="T48" fmla="*/ 44 w 96"/>
                  <a:gd name="T49" fmla="*/ 42 h 89"/>
                  <a:gd name="T50" fmla="*/ 72 w 96"/>
                  <a:gd name="T51" fmla="*/ 42 h 89"/>
                  <a:gd name="T52" fmla="*/ 72 w 96"/>
                  <a:gd name="T53" fmla="*/ 48 h 89"/>
                  <a:gd name="T54" fmla="*/ 62 w 96"/>
                  <a:gd name="T55" fmla="*/ 58 h 89"/>
                  <a:gd name="T56" fmla="*/ 60 w 96"/>
                  <a:gd name="T57" fmla="*/ 56 h 89"/>
                  <a:gd name="T58" fmla="*/ 62 w 96"/>
                  <a:gd name="T59" fmla="*/ 54 h 89"/>
                  <a:gd name="T60" fmla="*/ 68 w 96"/>
                  <a:gd name="T61" fmla="*/ 48 h 89"/>
                  <a:gd name="T62" fmla="*/ 68 w 96"/>
                  <a:gd name="T63" fmla="*/ 44 h 89"/>
                  <a:gd name="T64" fmla="*/ 54 w 96"/>
                  <a:gd name="T65" fmla="*/ 44 h 89"/>
                  <a:gd name="T66" fmla="*/ 52 w 96"/>
                  <a:gd name="T67" fmla="*/ 42 h 89"/>
                  <a:gd name="T68" fmla="*/ 52 w 96"/>
                  <a:gd name="T69" fmla="*/ 26 h 89"/>
                  <a:gd name="T70" fmla="*/ 54 w 96"/>
                  <a:gd name="T71" fmla="*/ 24 h 89"/>
                  <a:gd name="T72" fmla="*/ 70 w 96"/>
                  <a:gd name="T73" fmla="*/ 24 h 89"/>
                  <a:gd name="T74" fmla="*/ 72 w 96"/>
                  <a:gd name="T75" fmla="*/ 26 h 89"/>
                  <a:gd name="T76" fmla="*/ 72 w 96"/>
                  <a:gd name="T77" fmla="*/ 4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89">
                    <a:moveTo>
                      <a:pt x="48" y="0"/>
                    </a:moveTo>
                    <a:cubicBezTo>
                      <a:pt x="22" y="0"/>
                      <a:pt x="0" y="18"/>
                      <a:pt x="0" y="40"/>
                    </a:cubicBezTo>
                    <a:cubicBezTo>
                      <a:pt x="0" y="50"/>
                      <a:pt x="5" y="60"/>
                      <a:pt x="13" y="67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3" y="87"/>
                      <a:pt x="3" y="88"/>
                      <a:pt x="4" y="89"/>
                    </a:cubicBezTo>
                    <a:cubicBezTo>
                      <a:pt x="4" y="89"/>
                      <a:pt x="5" y="89"/>
                      <a:pt x="5" y="89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32" y="77"/>
                      <a:pt x="32" y="77"/>
                      <a:pt x="32" y="77"/>
                    </a:cubicBezTo>
                    <a:cubicBezTo>
                      <a:pt x="37" y="79"/>
                      <a:pt x="43" y="80"/>
                      <a:pt x="48" y="80"/>
                    </a:cubicBezTo>
                    <a:cubicBezTo>
                      <a:pt x="74" y="80"/>
                      <a:pt x="96" y="62"/>
                      <a:pt x="96" y="40"/>
                    </a:cubicBezTo>
                    <a:cubicBezTo>
                      <a:pt x="96" y="18"/>
                      <a:pt x="74" y="0"/>
                      <a:pt x="48" y="0"/>
                    </a:cubicBezTo>
                    <a:close/>
                    <a:moveTo>
                      <a:pt x="44" y="42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54"/>
                      <a:pt x="39" y="58"/>
                      <a:pt x="34" y="58"/>
                    </a:cubicBezTo>
                    <a:cubicBezTo>
                      <a:pt x="33" y="58"/>
                      <a:pt x="32" y="58"/>
                      <a:pt x="32" y="56"/>
                    </a:cubicBezTo>
                    <a:cubicBezTo>
                      <a:pt x="32" y="55"/>
                      <a:pt x="33" y="54"/>
                      <a:pt x="34" y="54"/>
                    </a:cubicBezTo>
                    <a:cubicBezTo>
                      <a:pt x="37" y="54"/>
                      <a:pt x="40" y="52"/>
                      <a:pt x="40" y="48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5" y="44"/>
                      <a:pt x="24" y="44"/>
                      <a:pt x="24" y="42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5"/>
                      <a:pt x="25" y="24"/>
                      <a:pt x="26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4"/>
                      <a:pt x="44" y="25"/>
                      <a:pt x="44" y="26"/>
                    </a:cubicBezTo>
                    <a:lnTo>
                      <a:pt x="44" y="42"/>
                    </a:lnTo>
                    <a:close/>
                    <a:moveTo>
                      <a:pt x="72" y="42"/>
                    </a:moveTo>
                    <a:cubicBezTo>
                      <a:pt x="72" y="48"/>
                      <a:pt x="72" y="48"/>
                      <a:pt x="72" y="48"/>
                    </a:cubicBezTo>
                    <a:cubicBezTo>
                      <a:pt x="72" y="54"/>
                      <a:pt x="67" y="58"/>
                      <a:pt x="62" y="58"/>
                    </a:cubicBezTo>
                    <a:cubicBezTo>
                      <a:pt x="61" y="58"/>
                      <a:pt x="60" y="58"/>
                      <a:pt x="60" y="56"/>
                    </a:cubicBezTo>
                    <a:cubicBezTo>
                      <a:pt x="60" y="55"/>
                      <a:pt x="61" y="54"/>
                      <a:pt x="62" y="54"/>
                    </a:cubicBezTo>
                    <a:cubicBezTo>
                      <a:pt x="65" y="54"/>
                      <a:pt x="68" y="52"/>
                      <a:pt x="68" y="48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3" y="44"/>
                      <a:pt x="52" y="44"/>
                      <a:pt x="52" y="42"/>
                    </a:cubicBezTo>
                    <a:cubicBezTo>
                      <a:pt x="52" y="26"/>
                      <a:pt x="52" y="26"/>
                      <a:pt x="52" y="26"/>
                    </a:cubicBezTo>
                    <a:cubicBezTo>
                      <a:pt x="52" y="25"/>
                      <a:pt x="53" y="24"/>
                      <a:pt x="54" y="24"/>
                    </a:cubicBezTo>
                    <a:cubicBezTo>
                      <a:pt x="70" y="24"/>
                      <a:pt x="70" y="24"/>
                      <a:pt x="70" y="24"/>
                    </a:cubicBezTo>
                    <a:cubicBezTo>
                      <a:pt x="71" y="24"/>
                      <a:pt x="72" y="25"/>
                      <a:pt x="72" y="26"/>
                    </a:cubicBezTo>
                    <a:lnTo>
                      <a:pt x="72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D0BE39B5-C16D-468D-9D19-21BA211009C1}"/>
              </a:ext>
            </a:extLst>
          </p:cNvPr>
          <p:cNvGrpSpPr/>
          <p:nvPr/>
        </p:nvGrpSpPr>
        <p:grpSpPr>
          <a:xfrm>
            <a:off x="9178730" y="4894442"/>
            <a:ext cx="461940" cy="461940"/>
            <a:chOff x="2206442" y="2621577"/>
            <a:chExt cx="461940" cy="46194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xmlns="" id="{E760915D-51C7-4A38-B6AE-30FF852994E8}"/>
                </a:ext>
              </a:extLst>
            </p:cNvPr>
            <p:cNvSpPr/>
            <p:nvPr/>
          </p:nvSpPr>
          <p:spPr>
            <a:xfrm>
              <a:off x="2206442" y="2621577"/>
              <a:ext cx="461940" cy="461940"/>
            </a:xfrm>
            <a:prstGeom prst="ellips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xmlns="" id="{5BF19D06-A2F8-4207-9ABD-3FB5E592B679}"/>
                </a:ext>
              </a:extLst>
            </p:cNvPr>
            <p:cNvGrpSpPr/>
            <p:nvPr/>
          </p:nvGrpSpPr>
          <p:grpSpPr>
            <a:xfrm>
              <a:off x="2310906" y="2735515"/>
              <a:ext cx="253012" cy="234065"/>
              <a:chOff x="4113213" y="3621088"/>
              <a:chExt cx="360363" cy="333375"/>
            </a:xfrm>
            <a:solidFill>
              <a:schemeClr val="bg1"/>
            </a:solidFill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xmlns="" id="{4A145C0F-C8BA-47F0-ADE7-15A99B3011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7988" y="3725863"/>
                <a:ext cx="44450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xmlns="" id="{5588EBA3-FC3B-4D33-930E-A8D4BE9BA3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22763" y="3725863"/>
                <a:ext cx="46038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25" name="Freeform 66">
                <a:extLst>
                  <a:ext uri="{FF2B5EF4-FFF2-40B4-BE49-F238E27FC236}">
                    <a16:creationId xmlns:a16="http://schemas.microsoft.com/office/drawing/2014/main" xmlns="" id="{4D8C35A7-A05E-47F0-B7CC-3DA1F3C021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3213" y="3621088"/>
                <a:ext cx="360363" cy="333375"/>
              </a:xfrm>
              <a:custGeom>
                <a:avLst/>
                <a:gdLst>
                  <a:gd name="T0" fmla="*/ 48 w 96"/>
                  <a:gd name="T1" fmla="*/ 0 h 89"/>
                  <a:gd name="T2" fmla="*/ 0 w 96"/>
                  <a:gd name="T3" fmla="*/ 40 h 89"/>
                  <a:gd name="T4" fmla="*/ 13 w 96"/>
                  <a:gd name="T5" fmla="*/ 67 h 89"/>
                  <a:gd name="T6" fmla="*/ 4 w 96"/>
                  <a:gd name="T7" fmla="*/ 87 h 89"/>
                  <a:gd name="T8" fmla="*/ 4 w 96"/>
                  <a:gd name="T9" fmla="*/ 89 h 89"/>
                  <a:gd name="T10" fmla="*/ 5 w 96"/>
                  <a:gd name="T11" fmla="*/ 89 h 89"/>
                  <a:gd name="T12" fmla="*/ 6 w 96"/>
                  <a:gd name="T13" fmla="*/ 89 h 89"/>
                  <a:gd name="T14" fmla="*/ 32 w 96"/>
                  <a:gd name="T15" fmla="*/ 77 h 89"/>
                  <a:gd name="T16" fmla="*/ 48 w 96"/>
                  <a:gd name="T17" fmla="*/ 80 h 89"/>
                  <a:gd name="T18" fmla="*/ 96 w 96"/>
                  <a:gd name="T19" fmla="*/ 40 h 89"/>
                  <a:gd name="T20" fmla="*/ 48 w 96"/>
                  <a:gd name="T21" fmla="*/ 0 h 89"/>
                  <a:gd name="T22" fmla="*/ 44 w 96"/>
                  <a:gd name="T23" fmla="*/ 42 h 89"/>
                  <a:gd name="T24" fmla="*/ 44 w 96"/>
                  <a:gd name="T25" fmla="*/ 48 h 89"/>
                  <a:gd name="T26" fmla="*/ 34 w 96"/>
                  <a:gd name="T27" fmla="*/ 58 h 89"/>
                  <a:gd name="T28" fmla="*/ 32 w 96"/>
                  <a:gd name="T29" fmla="*/ 56 h 89"/>
                  <a:gd name="T30" fmla="*/ 34 w 96"/>
                  <a:gd name="T31" fmla="*/ 54 h 89"/>
                  <a:gd name="T32" fmla="*/ 40 w 96"/>
                  <a:gd name="T33" fmla="*/ 48 h 89"/>
                  <a:gd name="T34" fmla="*/ 40 w 96"/>
                  <a:gd name="T35" fmla="*/ 44 h 89"/>
                  <a:gd name="T36" fmla="*/ 26 w 96"/>
                  <a:gd name="T37" fmla="*/ 44 h 89"/>
                  <a:gd name="T38" fmla="*/ 24 w 96"/>
                  <a:gd name="T39" fmla="*/ 42 h 89"/>
                  <a:gd name="T40" fmla="*/ 24 w 96"/>
                  <a:gd name="T41" fmla="*/ 26 h 89"/>
                  <a:gd name="T42" fmla="*/ 26 w 96"/>
                  <a:gd name="T43" fmla="*/ 24 h 89"/>
                  <a:gd name="T44" fmla="*/ 42 w 96"/>
                  <a:gd name="T45" fmla="*/ 24 h 89"/>
                  <a:gd name="T46" fmla="*/ 44 w 96"/>
                  <a:gd name="T47" fmla="*/ 26 h 89"/>
                  <a:gd name="T48" fmla="*/ 44 w 96"/>
                  <a:gd name="T49" fmla="*/ 42 h 89"/>
                  <a:gd name="T50" fmla="*/ 72 w 96"/>
                  <a:gd name="T51" fmla="*/ 42 h 89"/>
                  <a:gd name="T52" fmla="*/ 72 w 96"/>
                  <a:gd name="T53" fmla="*/ 48 h 89"/>
                  <a:gd name="T54" fmla="*/ 62 w 96"/>
                  <a:gd name="T55" fmla="*/ 58 h 89"/>
                  <a:gd name="T56" fmla="*/ 60 w 96"/>
                  <a:gd name="T57" fmla="*/ 56 h 89"/>
                  <a:gd name="T58" fmla="*/ 62 w 96"/>
                  <a:gd name="T59" fmla="*/ 54 h 89"/>
                  <a:gd name="T60" fmla="*/ 68 w 96"/>
                  <a:gd name="T61" fmla="*/ 48 h 89"/>
                  <a:gd name="T62" fmla="*/ 68 w 96"/>
                  <a:gd name="T63" fmla="*/ 44 h 89"/>
                  <a:gd name="T64" fmla="*/ 54 w 96"/>
                  <a:gd name="T65" fmla="*/ 44 h 89"/>
                  <a:gd name="T66" fmla="*/ 52 w 96"/>
                  <a:gd name="T67" fmla="*/ 42 h 89"/>
                  <a:gd name="T68" fmla="*/ 52 w 96"/>
                  <a:gd name="T69" fmla="*/ 26 h 89"/>
                  <a:gd name="T70" fmla="*/ 54 w 96"/>
                  <a:gd name="T71" fmla="*/ 24 h 89"/>
                  <a:gd name="T72" fmla="*/ 70 w 96"/>
                  <a:gd name="T73" fmla="*/ 24 h 89"/>
                  <a:gd name="T74" fmla="*/ 72 w 96"/>
                  <a:gd name="T75" fmla="*/ 26 h 89"/>
                  <a:gd name="T76" fmla="*/ 72 w 96"/>
                  <a:gd name="T77" fmla="*/ 4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89">
                    <a:moveTo>
                      <a:pt x="48" y="0"/>
                    </a:moveTo>
                    <a:cubicBezTo>
                      <a:pt x="22" y="0"/>
                      <a:pt x="0" y="18"/>
                      <a:pt x="0" y="40"/>
                    </a:cubicBezTo>
                    <a:cubicBezTo>
                      <a:pt x="0" y="50"/>
                      <a:pt x="5" y="60"/>
                      <a:pt x="13" y="67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3" y="87"/>
                      <a:pt x="3" y="88"/>
                      <a:pt x="4" y="89"/>
                    </a:cubicBezTo>
                    <a:cubicBezTo>
                      <a:pt x="4" y="89"/>
                      <a:pt x="5" y="89"/>
                      <a:pt x="5" y="89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32" y="77"/>
                      <a:pt x="32" y="77"/>
                      <a:pt x="32" y="77"/>
                    </a:cubicBezTo>
                    <a:cubicBezTo>
                      <a:pt x="37" y="79"/>
                      <a:pt x="43" y="80"/>
                      <a:pt x="48" y="80"/>
                    </a:cubicBezTo>
                    <a:cubicBezTo>
                      <a:pt x="74" y="80"/>
                      <a:pt x="96" y="62"/>
                      <a:pt x="96" y="40"/>
                    </a:cubicBezTo>
                    <a:cubicBezTo>
                      <a:pt x="96" y="18"/>
                      <a:pt x="74" y="0"/>
                      <a:pt x="48" y="0"/>
                    </a:cubicBezTo>
                    <a:close/>
                    <a:moveTo>
                      <a:pt x="44" y="42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54"/>
                      <a:pt x="39" y="58"/>
                      <a:pt x="34" y="58"/>
                    </a:cubicBezTo>
                    <a:cubicBezTo>
                      <a:pt x="33" y="58"/>
                      <a:pt x="32" y="58"/>
                      <a:pt x="32" y="56"/>
                    </a:cubicBezTo>
                    <a:cubicBezTo>
                      <a:pt x="32" y="55"/>
                      <a:pt x="33" y="54"/>
                      <a:pt x="34" y="54"/>
                    </a:cubicBezTo>
                    <a:cubicBezTo>
                      <a:pt x="37" y="54"/>
                      <a:pt x="40" y="52"/>
                      <a:pt x="40" y="48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5" y="44"/>
                      <a:pt x="24" y="44"/>
                      <a:pt x="24" y="42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5"/>
                      <a:pt x="25" y="24"/>
                      <a:pt x="26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4"/>
                      <a:pt x="44" y="25"/>
                      <a:pt x="44" y="26"/>
                    </a:cubicBezTo>
                    <a:lnTo>
                      <a:pt x="44" y="42"/>
                    </a:lnTo>
                    <a:close/>
                    <a:moveTo>
                      <a:pt x="72" y="42"/>
                    </a:moveTo>
                    <a:cubicBezTo>
                      <a:pt x="72" y="48"/>
                      <a:pt x="72" y="48"/>
                      <a:pt x="72" y="48"/>
                    </a:cubicBezTo>
                    <a:cubicBezTo>
                      <a:pt x="72" y="54"/>
                      <a:pt x="67" y="58"/>
                      <a:pt x="62" y="58"/>
                    </a:cubicBezTo>
                    <a:cubicBezTo>
                      <a:pt x="61" y="58"/>
                      <a:pt x="60" y="58"/>
                      <a:pt x="60" y="56"/>
                    </a:cubicBezTo>
                    <a:cubicBezTo>
                      <a:pt x="60" y="55"/>
                      <a:pt x="61" y="54"/>
                      <a:pt x="62" y="54"/>
                    </a:cubicBezTo>
                    <a:cubicBezTo>
                      <a:pt x="65" y="54"/>
                      <a:pt x="68" y="52"/>
                      <a:pt x="68" y="48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3" y="44"/>
                      <a:pt x="52" y="44"/>
                      <a:pt x="52" y="42"/>
                    </a:cubicBezTo>
                    <a:cubicBezTo>
                      <a:pt x="52" y="26"/>
                      <a:pt x="52" y="26"/>
                      <a:pt x="52" y="26"/>
                    </a:cubicBezTo>
                    <a:cubicBezTo>
                      <a:pt x="52" y="25"/>
                      <a:pt x="53" y="24"/>
                      <a:pt x="54" y="24"/>
                    </a:cubicBezTo>
                    <a:cubicBezTo>
                      <a:pt x="70" y="24"/>
                      <a:pt x="70" y="24"/>
                      <a:pt x="70" y="24"/>
                    </a:cubicBezTo>
                    <a:cubicBezTo>
                      <a:pt x="71" y="24"/>
                      <a:pt x="72" y="25"/>
                      <a:pt x="72" y="26"/>
                    </a:cubicBezTo>
                    <a:lnTo>
                      <a:pt x="72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6" name="Subtitle 176">
            <a:extLst>
              <a:ext uri="{FF2B5EF4-FFF2-40B4-BE49-F238E27FC236}">
                <a16:creationId xmlns:a16="http://schemas.microsoft.com/office/drawing/2014/main" xmlns="" id="{0A1FB8F2-E0A3-4CBA-B049-0DDAC5CD1281}"/>
              </a:ext>
            </a:extLst>
          </p:cNvPr>
          <p:cNvSpPr txBox="1">
            <a:spLocks/>
          </p:cNvSpPr>
          <p:nvPr/>
        </p:nvSpPr>
        <p:spPr>
          <a:xfrm>
            <a:off x="3104204" y="1754496"/>
            <a:ext cx="2890196" cy="154571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. </a:t>
            </a:r>
          </a:p>
        </p:txBody>
      </p:sp>
      <p:sp>
        <p:nvSpPr>
          <p:cNvPr id="27" name="Subtitle 176">
            <a:extLst>
              <a:ext uri="{FF2B5EF4-FFF2-40B4-BE49-F238E27FC236}">
                <a16:creationId xmlns:a16="http://schemas.microsoft.com/office/drawing/2014/main" xmlns="" id="{D6002375-ED91-4AD4-838C-A7B5D99665B0}"/>
              </a:ext>
            </a:extLst>
          </p:cNvPr>
          <p:cNvSpPr txBox="1">
            <a:spLocks/>
          </p:cNvSpPr>
          <p:nvPr/>
        </p:nvSpPr>
        <p:spPr>
          <a:xfrm>
            <a:off x="6197602" y="1754496"/>
            <a:ext cx="4870580" cy="145230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</a:p>
        </p:txBody>
      </p:sp>
      <p:sp>
        <p:nvSpPr>
          <p:cNvPr id="28" name="Subtitle 176">
            <a:extLst>
              <a:ext uri="{FF2B5EF4-FFF2-40B4-BE49-F238E27FC236}">
                <a16:creationId xmlns:a16="http://schemas.microsoft.com/office/drawing/2014/main" xmlns="" id="{BC136E91-AFAC-4AD0-8AA7-F9BB6AE7A168}"/>
              </a:ext>
            </a:extLst>
          </p:cNvPr>
          <p:cNvSpPr txBox="1">
            <a:spLocks/>
          </p:cNvSpPr>
          <p:nvPr/>
        </p:nvSpPr>
        <p:spPr>
          <a:xfrm>
            <a:off x="6197602" y="4360536"/>
            <a:ext cx="2890196" cy="154571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2000" b="1" dirty="0">
                <a:solidFill>
                  <a:schemeClr val="bg1"/>
                </a:solidFill>
                <a:latin typeface="Georgia" panose="02040502050405020303" pitchFamily="18" charset="0"/>
              </a:rPr>
              <a:t>. </a:t>
            </a:r>
          </a:p>
        </p:txBody>
      </p:sp>
      <p:sp>
        <p:nvSpPr>
          <p:cNvPr id="29" name="Subtitle 176">
            <a:extLst>
              <a:ext uri="{FF2B5EF4-FFF2-40B4-BE49-F238E27FC236}">
                <a16:creationId xmlns:a16="http://schemas.microsoft.com/office/drawing/2014/main" xmlns="" id="{006F929F-0281-44CA-AAD9-C38BDAF22C7A}"/>
              </a:ext>
            </a:extLst>
          </p:cNvPr>
          <p:cNvSpPr txBox="1">
            <a:spLocks/>
          </p:cNvSpPr>
          <p:nvPr/>
        </p:nvSpPr>
        <p:spPr>
          <a:xfrm>
            <a:off x="1123820" y="4407242"/>
            <a:ext cx="4870580" cy="145230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20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20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CDDEE963-A07E-4FAE-8E34-48422B322C2B}"/>
              </a:ext>
            </a:extLst>
          </p:cNvPr>
          <p:cNvSpPr/>
          <p:nvPr/>
        </p:nvSpPr>
        <p:spPr>
          <a:xfrm>
            <a:off x="11585009" y="1426594"/>
            <a:ext cx="609600" cy="22015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66DBBBFD-6589-4927-AC52-FB76CAD39440}"/>
              </a:ext>
            </a:extLst>
          </p:cNvPr>
          <p:cNvSpPr/>
          <p:nvPr/>
        </p:nvSpPr>
        <p:spPr>
          <a:xfrm>
            <a:off x="0" y="4024651"/>
            <a:ext cx="609600" cy="22015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xmlns="" id="{92B98F51-828F-4ED9-9420-A04715C45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772444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A1847C99-ECEF-4637-BF54-11BF4D9754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96375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204" name="think-cell Slide" r:id="rId6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8EAED01D-1534-41D5-BD89-0BA8932765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9" name="Picture 18" descr="A tall building&#10;&#10;Description automatically generated">
            <a:extLst>
              <a:ext uri="{FF2B5EF4-FFF2-40B4-BE49-F238E27FC236}">
                <a16:creationId xmlns:a16="http://schemas.microsoft.com/office/drawing/2014/main" xmlns="" id="{DB3004E3-591B-4B1B-8E7B-704EF5C7AD6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 r="-154"/>
          <a:stretch/>
        </p:blipFill>
        <p:spPr>
          <a:xfrm>
            <a:off x="0" y="1523154"/>
            <a:ext cx="11585008" cy="1905846"/>
          </a:xfrm>
          <a:prstGeom prst="rect">
            <a:avLst/>
          </a:prstGeom>
        </p:spPr>
      </p:pic>
      <p:pic>
        <p:nvPicPr>
          <p:cNvPr id="20" name="Picture 19" descr="A tall building&#10;&#10;Description automatically generated">
            <a:extLst>
              <a:ext uri="{FF2B5EF4-FFF2-40B4-BE49-F238E27FC236}">
                <a16:creationId xmlns:a16="http://schemas.microsoft.com/office/drawing/2014/main" xmlns="" id="{FE9E5B3C-4223-4AAB-B034-56D88DE2D81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 r="-154"/>
          <a:stretch/>
        </p:blipFill>
        <p:spPr>
          <a:xfrm>
            <a:off x="606992" y="4271702"/>
            <a:ext cx="11585008" cy="190584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02251F11-80FF-4ADD-BFAC-71613C21B8E4}"/>
              </a:ext>
            </a:extLst>
          </p:cNvPr>
          <p:cNvSpPr/>
          <p:nvPr/>
        </p:nvSpPr>
        <p:spPr>
          <a:xfrm>
            <a:off x="0" y="1523154"/>
            <a:ext cx="11585009" cy="1905846"/>
          </a:xfrm>
          <a:prstGeom prst="rect">
            <a:avLst/>
          </a:prstGeom>
          <a:solidFill>
            <a:srgbClr val="17223B">
              <a:alpha val="90000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C350DA7-0A82-4CD8-AC1B-800E23D26F61}"/>
              </a:ext>
            </a:extLst>
          </p:cNvPr>
          <p:cNvSpPr/>
          <p:nvPr/>
        </p:nvSpPr>
        <p:spPr>
          <a:xfrm>
            <a:off x="606991" y="4271702"/>
            <a:ext cx="11585009" cy="1905846"/>
          </a:xfrm>
          <a:prstGeom prst="rect">
            <a:avLst/>
          </a:prstGeom>
          <a:solidFill>
            <a:srgbClr val="17223B">
              <a:alpha val="90000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E686C4-4395-405E-9DB4-B9768C1FA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Testimonia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681E991-57D1-4693-B387-A007A01F0195}"/>
              </a:ext>
            </a:extLst>
          </p:cNvPr>
          <p:cNvSpPr/>
          <p:nvPr/>
        </p:nvSpPr>
        <p:spPr>
          <a:xfrm>
            <a:off x="606991" y="3619500"/>
            <a:ext cx="2191011" cy="237540"/>
          </a:xfrm>
          <a:prstGeom prst="rect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37EB141-95B2-45D7-A619-72E825B36BE6}"/>
              </a:ext>
            </a:extLst>
          </p:cNvPr>
          <p:cNvSpPr/>
          <p:nvPr/>
        </p:nvSpPr>
        <p:spPr>
          <a:xfrm>
            <a:off x="9393998" y="3738270"/>
            <a:ext cx="2191011" cy="237540"/>
          </a:xfrm>
          <a:prstGeom prst="rect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176">
            <a:extLst>
              <a:ext uri="{FF2B5EF4-FFF2-40B4-BE49-F238E27FC236}">
                <a16:creationId xmlns:a16="http://schemas.microsoft.com/office/drawing/2014/main" xmlns="" id="{593CEF71-3DCD-44D9-BEB1-8B2CB4778996}"/>
              </a:ext>
            </a:extLst>
          </p:cNvPr>
          <p:cNvSpPr txBox="1">
            <a:spLocks/>
          </p:cNvSpPr>
          <p:nvPr/>
        </p:nvSpPr>
        <p:spPr>
          <a:xfrm>
            <a:off x="3104204" y="2896818"/>
            <a:ext cx="8211496" cy="28157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. </a:t>
            </a:r>
          </a:p>
        </p:txBody>
      </p:sp>
      <p:sp>
        <p:nvSpPr>
          <p:cNvPr id="13" name="Subtitle 176">
            <a:extLst>
              <a:ext uri="{FF2B5EF4-FFF2-40B4-BE49-F238E27FC236}">
                <a16:creationId xmlns:a16="http://schemas.microsoft.com/office/drawing/2014/main" xmlns="" id="{EB0DA430-469D-4DF8-A284-7F26D3AB4891}"/>
              </a:ext>
            </a:extLst>
          </p:cNvPr>
          <p:cNvSpPr txBox="1">
            <a:spLocks/>
          </p:cNvSpPr>
          <p:nvPr/>
        </p:nvSpPr>
        <p:spPr>
          <a:xfrm>
            <a:off x="894746" y="5624605"/>
            <a:ext cx="8211496" cy="29031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800" b="1" dirty="0">
                <a:solidFill>
                  <a:schemeClr val="bg1"/>
                </a:solidFill>
                <a:latin typeface="Georgia" panose="02040502050405020303" pitchFamily="18" charset="0"/>
              </a:rPr>
              <a:t>. </a:t>
            </a:r>
          </a:p>
        </p:txBody>
      </p:sp>
      <p:sp>
        <p:nvSpPr>
          <p:cNvPr id="15" name="Subtitle 176">
            <a:extLst>
              <a:ext uri="{FF2B5EF4-FFF2-40B4-BE49-F238E27FC236}">
                <a16:creationId xmlns:a16="http://schemas.microsoft.com/office/drawing/2014/main" xmlns="" id="{056E70D2-D98C-4624-B413-461CB8129D47}"/>
              </a:ext>
            </a:extLst>
          </p:cNvPr>
          <p:cNvSpPr txBox="1">
            <a:spLocks/>
          </p:cNvSpPr>
          <p:nvPr/>
        </p:nvSpPr>
        <p:spPr>
          <a:xfrm>
            <a:off x="3104204" y="2008932"/>
            <a:ext cx="8211496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endParaRPr lang="en-ID" sz="18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6" name="Subtitle 176">
            <a:extLst>
              <a:ext uri="{FF2B5EF4-FFF2-40B4-BE49-F238E27FC236}">
                <a16:creationId xmlns:a16="http://schemas.microsoft.com/office/drawing/2014/main" xmlns="" id="{2DE369F8-FCB7-4AC3-8CAD-69AADF7C0F35}"/>
              </a:ext>
            </a:extLst>
          </p:cNvPr>
          <p:cNvSpPr txBox="1">
            <a:spLocks/>
          </p:cNvSpPr>
          <p:nvPr/>
        </p:nvSpPr>
        <p:spPr>
          <a:xfrm>
            <a:off x="894746" y="4745462"/>
            <a:ext cx="8211496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8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8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endParaRPr lang="en-ID" sz="18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C61D8EC0-F5CE-407D-BBFE-1AF7D4067CF8}"/>
              </a:ext>
            </a:extLst>
          </p:cNvPr>
          <p:cNvSpPr/>
          <p:nvPr/>
        </p:nvSpPr>
        <p:spPr>
          <a:xfrm>
            <a:off x="2981594" y="1494474"/>
            <a:ext cx="684803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600" b="1" spc="600" dirty="0">
                <a:solidFill>
                  <a:srgbClr val="EE4540"/>
                </a:solidFill>
                <a:latin typeface="Helvetica" panose="020B0604020202020204" pitchFamily="2" charset="0"/>
                <a:cs typeface="Calibri" panose="020F0502020204030204" pitchFamily="34" charset="0"/>
              </a:rPr>
              <a:t>“</a:t>
            </a:r>
            <a:endParaRPr lang="en-US" sz="6600" spc="600" dirty="0">
              <a:solidFill>
                <a:srgbClr val="EE4540"/>
              </a:solidFill>
              <a:latin typeface="Helvetica" panose="020B0604020202020204" pitchFamily="2" charset="0"/>
              <a:cs typeface="Calibri" panose="020F05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BBFD93E-F02C-4EED-B057-5DBC39247CFF}"/>
              </a:ext>
            </a:extLst>
          </p:cNvPr>
          <p:cNvSpPr/>
          <p:nvPr/>
        </p:nvSpPr>
        <p:spPr>
          <a:xfrm>
            <a:off x="756554" y="4237674"/>
            <a:ext cx="684803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600" b="1" spc="600" dirty="0">
                <a:solidFill>
                  <a:srgbClr val="EE4540"/>
                </a:solidFill>
                <a:latin typeface="Helvetica" panose="020B0604020202020204" pitchFamily="2" charset="0"/>
                <a:cs typeface="Calibri" panose="020F0502020204030204" pitchFamily="34" charset="0"/>
              </a:rPr>
              <a:t>“</a:t>
            </a:r>
            <a:endParaRPr lang="en-US" sz="6600" spc="600" dirty="0">
              <a:solidFill>
                <a:srgbClr val="EE4540"/>
              </a:solidFill>
              <a:latin typeface="Helvetica" panose="020B0604020202020204" pitchFamily="2" charset="0"/>
              <a:cs typeface="Calibri" panose="020F0502020204030204" pitchFamily="34" charset="0"/>
            </a:endParaRP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xmlns="" id="{DFE635FC-A491-4537-96EE-3DA747E78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13362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4517308-F1B0-4F1F-AF84-1B51C3E87E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1272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79" name="think-cell Slide" r:id="rId6" imgW="360" imgH="360" progId="">
              <p:embed/>
            </p:oleObj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0CE5F7FD-796E-447A-A8A8-F8A5F120CF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32" name="Picture 31" descr="A narrow city street with buildings on the side of a road&#10;&#10;Description automatically generated">
            <a:extLst>
              <a:ext uri="{FF2B5EF4-FFF2-40B4-BE49-F238E27FC236}">
                <a16:creationId xmlns:a16="http://schemas.microsoft.com/office/drawing/2014/main" xmlns="" id="{B557393B-5A30-4F74-9EAB-6DD90176CC5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saturation sa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4390363"/>
            <a:ext cx="12192001" cy="256197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81472D62-5CF3-43F5-9351-DF23EF833896}"/>
              </a:ext>
            </a:extLst>
          </p:cNvPr>
          <p:cNvSpPr/>
          <p:nvPr/>
        </p:nvSpPr>
        <p:spPr>
          <a:xfrm>
            <a:off x="-21771" y="4390364"/>
            <a:ext cx="12235543" cy="2561979"/>
          </a:xfrm>
          <a:prstGeom prst="rect">
            <a:avLst/>
          </a:prstGeom>
          <a:solidFill>
            <a:srgbClr val="17223B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91AF1DC-3472-48EB-A632-51B531DF8B11}"/>
              </a:ext>
            </a:extLst>
          </p:cNvPr>
          <p:cNvSpPr/>
          <p:nvPr/>
        </p:nvSpPr>
        <p:spPr>
          <a:xfrm>
            <a:off x="872706" y="2156459"/>
            <a:ext cx="3129413" cy="3614420"/>
          </a:xfrm>
          <a:prstGeom prst="rect">
            <a:avLst/>
          </a:prstGeom>
          <a:solidFill>
            <a:schemeClr val="bg1"/>
          </a:solidFill>
          <a:ln w="19050">
            <a:solidFill>
              <a:srgbClr val="17223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8EE4A226-9713-47FE-A60F-FA5973515C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Testimonial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FB34523-2AB6-4E82-BE0A-EE007E79CFFF}"/>
              </a:ext>
            </a:extLst>
          </p:cNvPr>
          <p:cNvSpPr/>
          <p:nvPr/>
        </p:nvSpPr>
        <p:spPr>
          <a:xfrm>
            <a:off x="4542689" y="2156459"/>
            <a:ext cx="3129413" cy="3614420"/>
          </a:xfrm>
          <a:prstGeom prst="rect">
            <a:avLst/>
          </a:prstGeom>
          <a:solidFill>
            <a:schemeClr val="bg1"/>
          </a:solidFill>
          <a:ln w="19050">
            <a:solidFill>
              <a:srgbClr val="17223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C198465-7260-44DF-93D1-0B50EC93D63F}"/>
              </a:ext>
            </a:extLst>
          </p:cNvPr>
          <p:cNvSpPr/>
          <p:nvPr/>
        </p:nvSpPr>
        <p:spPr>
          <a:xfrm>
            <a:off x="8209625" y="2156459"/>
            <a:ext cx="3129413" cy="3614420"/>
          </a:xfrm>
          <a:prstGeom prst="rect">
            <a:avLst/>
          </a:prstGeom>
          <a:solidFill>
            <a:schemeClr val="bg1"/>
          </a:solidFill>
          <a:ln w="19050">
            <a:solidFill>
              <a:srgbClr val="17223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523FDFDB-50D8-46E8-9FC9-CA283D59A396}"/>
              </a:ext>
            </a:extLst>
          </p:cNvPr>
          <p:cNvSpPr/>
          <p:nvPr/>
        </p:nvSpPr>
        <p:spPr>
          <a:xfrm>
            <a:off x="1560304" y="1279088"/>
            <a:ext cx="1754217" cy="17542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A4475529-BEEB-4421-B1AC-F183575E2020}"/>
              </a:ext>
            </a:extLst>
          </p:cNvPr>
          <p:cNvSpPr/>
          <p:nvPr/>
        </p:nvSpPr>
        <p:spPr>
          <a:xfrm>
            <a:off x="8897223" y="1279088"/>
            <a:ext cx="1754217" cy="17542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62483241-60C0-45B2-8845-7F7FE997C2D3}"/>
              </a:ext>
            </a:extLst>
          </p:cNvPr>
          <p:cNvSpPr/>
          <p:nvPr/>
        </p:nvSpPr>
        <p:spPr>
          <a:xfrm>
            <a:off x="5230287" y="1279088"/>
            <a:ext cx="1754217" cy="175421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892BFFE9-C65C-4E09-AF97-B5B43D3CDC53}"/>
              </a:ext>
            </a:extLst>
          </p:cNvPr>
          <p:cNvSpPr/>
          <p:nvPr/>
        </p:nvSpPr>
        <p:spPr>
          <a:xfrm>
            <a:off x="2206442" y="2621577"/>
            <a:ext cx="461940" cy="461940"/>
          </a:xfrm>
          <a:prstGeom prst="ellips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FC9A11F9-1874-43EC-BB12-96C7AF94AB35}"/>
              </a:ext>
            </a:extLst>
          </p:cNvPr>
          <p:cNvSpPr/>
          <p:nvPr/>
        </p:nvSpPr>
        <p:spPr>
          <a:xfrm>
            <a:off x="5876425" y="2621577"/>
            <a:ext cx="461940" cy="461940"/>
          </a:xfrm>
          <a:prstGeom prst="ellips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1271D12B-7B73-487F-8520-2E48F606DF91}"/>
              </a:ext>
            </a:extLst>
          </p:cNvPr>
          <p:cNvSpPr/>
          <p:nvPr/>
        </p:nvSpPr>
        <p:spPr>
          <a:xfrm>
            <a:off x="9543361" y="2621577"/>
            <a:ext cx="461940" cy="461940"/>
          </a:xfrm>
          <a:prstGeom prst="ellips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ubtitle 176">
            <a:extLst>
              <a:ext uri="{FF2B5EF4-FFF2-40B4-BE49-F238E27FC236}">
                <a16:creationId xmlns:a16="http://schemas.microsoft.com/office/drawing/2014/main" xmlns="" id="{B6576FDA-D163-46D6-924C-D7535D1DEEFB}"/>
              </a:ext>
            </a:extLst>
          </p:cNvPr>
          <p:cNvSpPr txBox="1">
            <a:spLocks/>
          </p:cNvSpPr>
          <p:nvPr/>
        </p:nvSpPr>
        <p:spPr>
          <a:xfrm>
            <a:off x="1170880" y="3188072"/>
            <a:ext cx="2533064" cy="1551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non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justo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sed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eo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enenati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acini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uri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sodales</a:t>
            </a:r>
            <a:endParaRPr lang="en-ID" sz="1400" i="1" dirty="0">
              <a:solidFill>
                <a:schemeClr val="tx1">
                  <a:lumMod val="85000"/>
                  <a:lumOff val="15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34" name="Subtitle 176">
            <a:extLst>
              <a:ext uri="{FF2B5EF4-FFF2-40B4-BE49-F238E27FC236}">
                <a16:creationId xmlns:a16="http://schemas.microsoft.com/office/drawing/2014/main" xmlns="" id="{C2DB5C5D-E0DA-49D0-B70C-D5CCE563536D}"/>
              </a:ext>
            </a:extLst>
          </p:cNvPr>
          <p:cNvSpPr txBox="1">
            <a:spLocks/>
          </p:cNvSpPr>
          <p:nvPr/>
        </p:nvSpPr>
        <p:spPr>
          <a:xfrm>
            <a:off x="1170880" y="5099124"/>
            <a:ext cx="2533064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dolor</a:t>
            </a: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 sit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amet</a:t>
            </a: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,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consectetur</a:t>
            </a:r>
            <a:endParaRPr lang="en-ID" sz="1400" b="1" dirty="0">
              <a:solidFill>
                <a:srgbClr val="17223B"/>
              </a:solidFill>
              <a:latin typeface="Georgia" panose="02040502050405020303" pitchFamily="18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81557F4E-D865-4059-9763-082FE67358E4}"/>
              </a:ext>
            </a:extLst>
          </p:cNvPr>
          <p:cNvCxnSpPr/>
          <p:nvPr/>
        </p:nvCxnSpPr>
        <p:spPr>
          <a:xfrm>
            <a:off x="1079500" y="4919195"/>
            <a:ext cx="26543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ubtitle 176">
            <a:extLst>
              <a:ext uri="{FF2B5EF4-FFF2-40B4-BE49-F238E27FC236}">
                <a16:creationId xmlns:a16="http://schemas.microsoft.com/office/drawing/2014/main" xmlns="" id="{A53250C8-E040-4211-9D70-5B8EFFABC302}"/>
              </a:ext>
            </a:extLst>
          </p:cNvPr>
          <p:cNvSpPr txBox="1">
            <a:spLocks/>
          </p:cNvSpPr>
          <p:nvPr/>
        </p:nvSpPr>
        <p:spPr>
          <a:xfrm>
            <a:off x="4840863" y="3188072"/>
            <a:ext cx="2533064" cy="1551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non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justo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sed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eo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enenati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acini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uri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sodales</a:t>
            </a:r>
            <a:endParaRPr lang="en-ID" sz="1400" i="1" dirty="0">
              <a:solidFill>
                <a:schemeClr val="tx1">
                  <a:lumMod val="85000"/>
                  <a:lumOff val="15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38" name="Subtitle 176">
            <a:extLst>
              <a:ext uri="{FF2B5EF4-FFF2-40B4-BE49-F238E27FC236}">
                <a16:creationId xmlns:a16="http://schemas.microsoft.com/office/drawing/2014/main" xmlns="" id="{D788211F-2884-4C28-A96B-A27C95113504}"/>
              </a:ext>
            </a:extLst>
          </p:cNvPr>
          <p:cNvSpPr txBox="1">
            <a:spLocks/>
          </p:cNvSpPr>
          <p:nvPr/>
        </p:nvSpPr>
        <p:spPr>
          <a:xfrm>
            <a:off x="4840863" y="5099124"/>
            <a:ext cx="2533064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dolor</a:t>
            </a: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 sit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amet</a:t>
            </a: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,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consectetur</a:t>
            </a:r>
            <a:endParaRPr lang="en-ID" sz="1400" b="1" dirty="0">
              <a:solidFill>
                <a:srgbClr val="17223B"/>
              </a:solidFill>
              <a:latin typeface="Georgia" panose="02040502050405020303" pitchFamily="18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34FDD09D-1454-4E7F-8B5C-3B6019821136}"/>
              </a:ext>
            </a:extLst>
          </p:cNvPr>
          <p:cNvCxnSpPr>
            <a:cxnSpLocks/>
          </p:cNvCxnSpPr>
          <p:nvPr/>
        </p:nvCxnSpPr>
        <p:spPr>
          <a:xfrm>
            <a:off x="4780245" y="4919195"/>
            <a:ext cx="26543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ubtitle 176">
            <a:extLst>
              <a:ext uri="{FF2B5EF4-FFF2-40B4-BE49-F238E27FC236}">
                <a16:creationId xmlns:a16="http://schemas.microsoft.com/office/drawing/2014/main" xmlns="" id="{5CC70B9C-BE47-479F-B1F9-18B34069BFCC}"/>
              </a:ext>
            </a:extLst>
          </p:cNvPr>
          <p:cNvSpPr txBox="1">
            <a:spLocks/>
          </p:cNvSpPr>
          <p:nvPr/>
        </p:nvSpPr>
        <p:spPr>
          <a:xfrm>
            <a:off x="8507799" y="3188072"/>
            <a:ext cx="2533064" cy="1551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non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justo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sed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eo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enenati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acini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uri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sodales</a:t>
            </a:r>
            <a:endParaRPr lang="en-ID" sz="1400" i="1" dirty="0">
              <a:solidFill>
                <a:schemeClr val="tx1">
                  <a:lumMod val="85000"/>
                  <a:lumOff val="15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41" name="Subtitle 176">
            <a:extLst>
              <a:ext uri="{FF2B5EF4-FFF2-40B4-BE49-F238E27FC236}">
                <a16:creationId xmlns:a16="http://schemas.microsoft.com/office/drawing/2014/main" xmlns="" id="{F7074CD7-2CA1-4317-9D0B-C2CE3B4EECE2}"/>
              </a:ext>
            </a:extLst>
          </p:cNvPr>
          <p:cNvSpPr txBox="1">
            <a:spLocks/>
          </p:cNvSpPr>
          <p:nvPr/>
        </p:nvSpPr>
        <p:spPr>
          <a:xfrm>
            <a:off x="8507799" y="5099124"/>
            <a:ext cx="2533064" cy="3877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dolor</a:t>
            </a: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 sit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amet</a:t>
            </a:r>
            <a:r>
              <a:rPr lang="en-ID" sz="1400" b="1" dirty="0">
                <a:solidFill>
                  <a:srgbClr val="17223B"/>
                </a:solidFill>
                <a:latin typeface="Georgia" panose="02040502050405020303" pitchFamily="18" charset="0"/>
              </a:rPr>
              <a:t>, </a:t>
            </a:r>
            <a:r>
              <a:rPr lang="en-ID" sz="1400" b="1" dirty="0" err="1">
                <a:solidFill>
                  <a:srgbClr val="17223B"/>
                </a:solidFill>
                <a:latin typeface="Georgia" panose="02040502050405020303" pitchFamily="18" charset="0"/>
              </a:rPr>
              <a:t>consectetur</a:t>
            </a:r>
            <a:endParaRPr lang="en-ID" sz="1400" b="1" dirty="0">
              <a:solidFill>
                <a:srgbClr val="17223B"/>
              </a:solidFill>
              <a:latin typeface="Georgia" panose="02040502050405020303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50B2F365-5C33-48B9-8073-31801F088D17}"/>
              </a:ext>
            </a:extLst>
          </p:cNvPr>
          <p:cNvCxnSpPr>
            <a:cxnSpLocks/>
          </p:cNvCxnSpPr>
          <p:nvPr/>
        </p:nvCxnSpPr>
        <p:spPr>
          <a:xfrm>
            <a:off x="8447181" y="4919195"/>
            <a:ext cx="26543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44ED6B9A-122F-45D3-97F6-F67C2E1FD9CA}"/>
              </a:ext>
            </a:extLst>
          </p:cNvPr>
          <p:cNvGrpSpPr/>
          <p:nvPr/>
        </p:nvGrpSpPr>
        <p:grpSpPr>
          <a:xfrm>
            <a:off x="2310906" y="2735515"/>
            <a:ext cx="253012" cy="234065"/>
            <a:chOff x="4113213" y="3621088"/>
            <a:chExt cx="360363" cy="333375"/>
          </a:xfrm>
          <a:solidFill>
            <a:schemeClr val="bg1"/>
          </a:solidFill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xmlns="" id="{4CC7D841-E2D5-4C6B-972C-C332F9F4A5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7988" y="3725863"/>
              <a:ext cx="44450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08306545-B2C3-496A-9B22-3F297585D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763" y="3725863"/>
              <a:ext cx="46038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9" name="Freeform 66">
              <a:extLst>
                <a:ext uri="{FF2B5EF4-FFF2-40B4-BE49-F238E27FC236}">
                  <a16:creationId xmlns:a16="http://schemas.microsoft.com/office/drawing/2014/main" xmlns="" id="{CDB7C8D1-3345-4178-A85A-77351A657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3621088"/>
              <a:ext cx="360363" cy="333375"/>
            </a:xfrm>
            <a:custGeom>
              <a:avLst/>
              <a:gdLst>
                <a:gd name="T0" fmla="*/ 48 w 96"/>
                <a:gd name="T1" fmla="*/ 0 h 89"/>
                <a:gd name="T2" fmla="*/ 0 w 96"/>
                <a:gd name="T3" fmla="*/ 40 h 89"/>
                <a:gd name="T4" fmla="*/ 13 w 96"/>
                <a:gd name="T5" fmla="*/ 67 h 89"/>
                <a:gd name="T6" fmla="*/ 4 w 96"/>
                <a:gd name="T7" fmla="*/ 87 h 89"/>
                <a:gd name="T8" fmla="*/ 4 w 96"/>
                <a:gd name="T9" fmla="*/ 89 h 89"/>
                <a:gd name="T10" fmla="*/ 5 w 96"/>
                <a:gd name="T11" fmla="*/ 89 h 89"/>
                <a:gd name="T12" fmla="*/ 6 w 96"/>
                <a:gd name="T13" fmla="*/ 89 h 89"/>
                <a:gd name="T14" fmla="*/ 32 w 96"/>
                <a:gd name="T15" fmla="*/ 77 h 89"/>
                <a:gd name="T16" fmla="*/ 48 w 96"/>
                <a:gd name="T17" fmla="*/ 80 h 89"/>
                <a:gd name="T18" fmla="*/ 96 w 96"/>
                <a:gd name="T19" fmla="*/ 40 h 89"/>
                <a:gd name="T20" fmla="*/ 48 w 96"/>
                <a:gd name="T21" fmla="*/ 0 h 89"/>
                <a:gd name="T22" fmla="*/ 44 w 96"/>
                <a:gd name="T23" fmla="*/ 42 h 89"/>
                <a:gd name="T24" fmla="*/ 44 w 96"/>
                <a:gd name="T25" fmla="*/ 48 h 89"/>
                <a:gd name="T26" fmla="*/ 34 w 96"/>
                <a:gd name="T27" fmla="*/ 58 h 89"/>
                <a:gd name="T28" fmla="*/ 32 w 96"/>
                <a:gd name="T29" fmla="*/ 56 h 89"/>
                <a:gd name="T30" fmla="*/ 34 w 96"/>
                <a:gd name="T31" fmla="*/ 54 h 89"/>
                <a:gd name="T32" fmla="*/ 40 w 96"/>
                <a:gd name="T33" fmla="*/ 48 h 89"/>
                <a:gd name="T34" fmla="*/ 40 w 96"/>
                <a:gd name="T35" fmla="*/ 44 h 89"/>
                <a:gd name="T36" fmla="*/ 26 w 96"/>
                <a:gd name="T37" fmla="*/ 44 h 89"/>
                <a:gd name="T38" fmla="*/ 24 w 96"/>
                <a:gd name="T39" fmla="*/ 42 h 89"/>
                <a:gd name="T40" fmla="*/ 24 w 96"/>
                <a:gd name="T41" fmla="*/ 26 h 89"/>
                <a:gd name="T42" fmla="*/ 26 w 96"/>
                <a:gd name="T43" fmla="*/ 24 h 89"/>
                <a:gd name="T44" fmla="*/ 42 w 96"/>
                <a:gd name="T45" fmla="*/ 24 h 89"/>
                <a:gd name="T46" fmla="*/ 44 w 96"/>
                <a:gd name="T47" fmla="*/ 26 h 89"/>
                <a:gd name="T48" fmla="*/ 44 w 96"/>
                <a:gd name="T49" fmla="*/ 42 h 89"/>
                <a:gd name="T50" fmla="*/ 72 w 96"/>
                <a:gd name="T51" fmla="*/ 42 h 89"/>
                <a:gd name="T52" fmla="*/ 72 w 96"/>
                <a:gd name="T53" fmla="*/ 48 h 89"/>
                <a:gd name="T54" fmla="*/ 62 w 96"/>
                <a:gd name="T55" fmla="*/ 58 h 89"/>
                <a:gd name="T56" fmla="*/ 60 w 96"/>
                <a:gd name="T57" fmla="*/ 56 h 89"/>
                <a:gd name="T58" fmla="*/ 62 w 96"/>
                <a:gd name="T59" fmla="*/ 54 h 89"/>
                <a:gd name="T60" fmla="*/ 68 w 96"/>
                <a:gd name="T61" fmla="*/ 48 h 89"/>
                <a:gd name="T62" fmla="*/ 68 w 96"/>
                <a:gd name="T63" fmla="*/ 44 h 89"/>
                <a:gd name="T64" fmla="*/ 54 w 96"/>
                <a:gd name="T65" fmla="*/ 44 h 89"/>
                <a:gd name="T66" fmla="*/ 52 w 96"/>
                <a:gd name="T67" fmla="*/ 42 h 89"/>
                <a:gd name="T68" fmla="*/ 52 w 96"/>
                <a:gd name="T69" fmla="*/ 26 h 89"/>
                <a:gd name="T70" fmla="*/ 54 w 96"/>
                <a:gd name="T71" fmla="*/ 24 h 89"/>
                <a:gd name="T72" fmla="*/ 70 w 96"/>
                <a:gd name="T73" fmla="*/ 24 h 89"/>
                <a:gd name="T74" fmla="*/ 72 w 96"/>
                <a:gd name="T75" fmla="*/ 26 h 89"/>
                <a:gd name="T76" fmla="*/ 72 w 96"/>
                <a:gd name="T77" fmla="*/ 4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89">
                  <a:moveTo>
                    <a:pt x="48" y="0"/>
                  </a:moveTo>
                  <a:cubicBezTo>
                    <a:pt x="22" y="0"/>
                    <a:pt x="0" y="18"/>
                    <a:pt x="0" y="40"/>
                  </a:cubicBezTo>
                  <a:cubicBezTo>
                    <a:pt x="0" y="50"/>
                    <a:pt x="5" y="60"/>
                    <a:pt x="13" y="67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3" y="87"/>
                    <a:pt x="3" y="88"/>
                    <a:pt x="4" y="89"/>
                  </a:cubicBezTo>
                  <a:cubicBezTo>
                    <a:pt x="4" y="89"/>
                    <a:pt x="5" y="89"/>
                    <a:pt x="5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7" y="79"/>
                    <a:pt x="43" y="80"/>
                    <a:pt x="48" y="80"/>
                  </a:cubicBezTo>
                  <a:cubicBezTo>
                    <a:pt x="74" y="80"/>
                    <a:pt x="96" y="62"/>
                    <a:pt x="96" y="40"/>
                  </a:cubicBezTo>
                  <a:cubicBezTo>
                    <a:pt x="96" y="18"/>
                    <a:pt x="74" y="0"/>
                    <a:pt x="48" y="0"/>
                  </a:cubicBezTo>
                  <a:close/>
                  <a:moveTo>
                    <a:pt x="44" y="42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54"/>
                    <a:pt x="39" y="58"/>
                    <a:pt x="34" y="58"/>
                  </a:cubicBezTo>
                  <a:cubicBezTo>
                    <a:pt x="33" y="58"/>
                    <a:pt x="32" y="58"/>
                    <a:pt x="32" y="56"/>
                  </a:cubicBezTo>
                  <a:cubicBezTo>
                    <a:pt x="32" y="55"/>
                    <a:pt x="33" y="54"/>
                    <a:pt x="34" y="54"/>
                  </a:cubicBezTo>
                  <a:cubicBezTo>
                    <a:pt x="37" y="54"/>
                    <a:pt x="40" y="52"/>
                    <a:pt x="40" y="48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5" y="44"/>
                    <a:pt x="24" y="44"/>
                    <a:pt x="24" y="4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5"/>
                    <a:pt x="25" y="24"/>
                    <a:pt x="26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lnTo>
                    <a:pt x="44" y="42"/>
                  </a:lnTo>
                  <a:close/>
                  <a:moveTo>
                    <a:pt x="72" y="42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67" y="58"/>
                    <a:pt x="62" y="58"/>
                  </a:cubicBezTo>
                  <a:cubicBezTo>
                    <a:pt x="61" y="58"/>
                    <a:pt x="60" y="58"/>
                    <a:pt x="60" y="56"/>
                  </a:cubicBezTo>
                  <a:cubicBezTo>
                    <a:pt x="60" y="55"/>
                    <a:pt x="61" y="54"/>
                    <a:pt x="62" y="54"/>
                  </a:cubicBezTo>
                  <a:cubicBezTo>
                    <a:pt x="65" y="54"/>
                    <a:pt x="68" y="52"/>
                    <a:pt x="68" y="4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3" y="44"/>
                    <a:pt x="52" y="44"/>
                    <a:pt x="52" y="42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5"/>
                    <a:pt x="53" y="24"/>
                    <a:pt x="5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24"/>
                    <a:pt x="72" y="25"/>
                    <a:pt x="72" y="26"/>
                  </a:cubicBezTo>
                  <a:lnTo>
                    <a:pt x="72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C29AD815-CA12-4A17-8896-6D3E5E7DB7EF}"/>
              </a:ext>
            </a:extLst>
          </p:cNvPr>
          <p:cNvGrpSpPr/>
          <p:nvPr/>
        </p:nvGrpSpPr>
        <p:grpSpPr>
          <a:xfrm>
            <a:off x="5980889" y="2735515"/>
            <a:ext cx="253012" cy="234065"/>
            <a:chOff x="4113213" y="3621088"/>
            <a:chExt cx="360363" cy="333375"/>
          </a:xfrm>
          <a:solidFill>
            <a:schemeClr val="bg1"/>
          </a:solidFill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1917DDE0-B9B8-46B6-9FFB-52D933A94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7988" y="3725863"/>
              <a:ext cx="44450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903754E6-AB6B-408D-9634-FB700D0EA1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763" y="3725863"/>
              <a:ext cx="46038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66">
              <a:extLst>
                <a:ext uri="{FF2B5EF4-FFF2-40B4-BE49-F238E27FC236}">
                  <a16:creationId xmlns:a16="http://schemas.microsoft.com/office/drawing/2014/main" xmlns="" id="{B2658437-CFEC-4F24-AA50-E669A94DE9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3621088"/>
              <a:ext cx="360363" cy="333375"/>
            </a:xfrm>
            <a:custGeom>
              <a:avLst/>
              <a:gdLst>
                <a:gd name="T0" fmla="*/ 48 w 96"/>
                <a:gd name="T1" fmla="*/ 0 h 89"/>
                <a:gd name="T2" fmla="*/ 0 w 96"/>
                <a:gd name="T3" fmla="*/ 40 h 89"/>
                <a:gd name="T4" fmla="*/ 13 w 96"/>
                <a:gd name="T5" fmla="*/ 67 h 89"/>
                <a:gd name="T6" fmla="*/ 4 w 96"/>
                <a:gd name="T7" fmla="*/ 87 h 89"/>
                <a:gd name="T8" fmla="*/ 4 w 96"/>
                <a:gd name="T9" fmla="*/ 89 h 89"/>
                <a:gd name="T10" fmla="*/ 5 w 96"/>
                <a:gd name="T11" fmla="*/ 89 h 89"/>
                <a:gd name="T12" fmla="*/ 6 w 96"/>
                <a:gd name="T13" fmla="*/ 89 h 89"/>
                <a:gd name="T14" fmla="*/ 32 w 96"/>
                <a:gd name="T15" fmla="*/ 77 h 89"/>
                <a:gd name="T16" fmla="*/ 48 w 96"/>
                <a:gd name="T17" fmla="*/ 80 h 89"/>
                <a:gd name="T18" fmla="*/ 96 w 96"/>
                <a:gd name="T19" fmla="*/ 40 h 89"/>
                <a:gd name="T20" fmla="*/ 48 w 96"/>
                <a:gd name="T21" fmla="*/ 0 h 89"/>
                <a:gd name="T22" fmla="*/ 44 w 96"/>
                <a:gd name="T23" fmla="*/ 42 h 89"/>
                <a:gd name="T24" fmla="*/ 44 w 96"/>
                <a:gd name="T25" fmla="*/ 48 h 89"/>
                <a:gd name="T26" fmla="*/ 34 w 96"/>
                <a:gd name="T27" fmla="*/ 58 h 89"/>
                <a:gd name="T28" fmla="*/ 32 w 96"/>
                <a:gd name="T29" fmla="*/ 56 h 89"/>
                <a:gd name="T30" fmla="*/ 34 w 96"/>
                <a:gd name="T31" fmla="*/ 54 h 89"/>
                <a:gd name="T32" fmla="*/ 40 w 96"/>
                <a:gd name="T33" fmla="*/ 48 h 89"/>
                <a:gd name="T34" fmla="*/ 40 w 96"/>
                <a:gd name="T35" fmla="*/ 44 h 89"/>
                <a:gd name="T36" fmla="*/ 26 w 96"/>
                <a:gd name="T37" fmla="*/ 44 h 89"/>
                <a:gd name="T38" fmla="*/ 24 w 96"/>
                <a:gd name="T39" fmla="*/ 42 h 89"/>
                <a:gd name="T40" fmla="*/ 24 w 96"/>
                <a:gd name="T41" fmla="*/ 26 h 89"/>
                <a:gd name="T42" fmla="*/ 26 w 96"/>
                <a:gd name="T43" fmla="*/ 24 h 89"/>
                <a:gd name="T44" fmla="*/ 42 w 96"/>
                <a:gd name="T45" fmla="*/ 24 h 89"/>
                <a:gd name="T46" fmla="*/ 44 w 96"/>
                <a:gd name="T47" fmla="*/ 26 h 89"/>
                <a:gd name="T48" fmla="*/ 44 w 96"/>
                <a:gd name="T49" fmla="*/ 42 h 89"/>
                <a:gd name="T50" fmla="*/ 72 w 96"/>
                <a:gd name="T51" fmla="*/ 42 h 89"/>
                <a:gd name="T52" fmla="*/ 72 w 96"/>
                <a:gd name="T53" fmla="*/ 48 h 89"/>
                <a:gd name="T54" fmla="*/ 62 w 96"/>
                <a:gd name="T55" fmla="*/ 58 h 89"/>
                <a:gd name="T56" fmla="*/ 60 w 96"/>
                <a:gd name="T57" fmla="*/ 56 h 89"/>
                <a:gd name="T58" fmla="*/ 62 w 96"/>
                <a:gd name="T59" fmla="*/ 54 h 89"/>
                <a:gd name="T60" fmla="*/ 68 w 96"/>
                <a:gd name="T61" fmla="*/ 48 h 89"/>
                <a:gd name="T62" fmla="*/ 68 w 96"/>
                <a:gd name="T63" fmla="*/ 44 h 89"/>
                <a:gd name="T64" fmla="*/ 54 w 96"/>
                <a:gd name="T65" fmla="*/ 44 h 89"/>
                <a:gd name="T66" fmla="*/ 52 w 96"/>
                <a:gd name="T67" fmla="*/ 42 h 89"/>
                <a:gd name="T68" fmla="*/ 52 w 96"/>
                <a:gd name="T69" fmla="*/ 26 h 89"/>
                <a:gd name="T70" fmla="*/ 54 w 96"/>
                <a:gd name="T71" fmla="*/ 24 h 89"/>
                <a:gd name="T72" fmla="*/ 70 w 96"/>
                <a:gd name="T73" fmla="*/ 24 h 89"/>
                <a:gd name="T74" fmla="*/ 72 w 96"/>
                <a:gd name="T75" fmla="*/ 26 h 89"/>
                <a:gd name="T76" fmla="*/ 72 w 96"/>
                <a:gd name="T77" fmla="*/ 4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89">
                  <a:moveTo>
                    <a:pt x="48" y="0"/>
                  </a:moveTo>
                  <a:cubicBezTo>
                    <a:pt x="22" y="0"/>
                    <a:pt x="0" y="18"/>
                    <a:pt x="0" y="40"/>
                  </a:cubicBezTo>
                  <a:cubicBezTo>
                    <a:pt x="0" y="50"/>
                    <a:pt x="5" y="60"/>
                    <a:pt x="13" y="67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3" y="87"/>
                    <a:pt x="3" y="88"/>
                    <a:pt x="4" y="89"/>
                  </a:cubicBezTo>
                  <a:cubicBezTo>
                    <a:pt x="4" y="89"/>
                    <a:pt x="5" y="89"/>
                    <a:pt x="5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7" y="79"/>
                    <a:pt x="43" y="80"/>
                    <a:pt x="48" y="80"/>
                  </a:cubicBezTo>
                  <a:cubicBezTo>
                    <a:pt x="74" y="80"/>
                    <a:pt x="96" y="62"/>
                    <a:pt x="96" y="40"/>
                  </a:cubicBezTo>
                  <a:cubicBezTo>
                    <a:pt x="96" y="18"/>
                    <a:pt x="74" y="0"/>
                    <a:pt x="48" y="0"/>
                  </a:cubicBezTo>
                  <a:close/>
                  <a:moveTo>
                    <a:pt x="44" y="42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54"/>
                    <a:pt x="39" y="58"/>
                    <a:pt x="34" y="58"/>
                  </a:cubicBezTo>
                  <a:cubicBezTo>
                    <a:pt x="33" y="58"/>
                    <a:pt x="32" y="58"/>
                    <a:pt x="32" y="56"/>
                  </a:cubicBezTo>
                  <a:cubicBezTo>
                    <a:pt x="32" y="55"/>
                    <a:pt x="33" y="54"/>
                    <a:pt x="34" y="54"/>
                  </a:cubicBezTo>
                  <a:cubicBezTo>
                    <a:pt x="37" y="54"/>
                    <a:pt x="40" y="52"/>
                    <a:pt x="40" y="48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5" y="44"/>
                    <a:pt x="24" y="44"/>
                    <a:pt x="24" y="4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5"/>
                    <a:pt x="25" y="24"/>
                    <a:pt x="26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lnTo>
                    <a:pt x="44" y="42"/>
                  </a:lnTo>
                  <a:close/>
                  <a:moveTo>
                    <a:pt x="72" y="42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67" y="58"/>
                    <a:pt x="62" y="58"/>
                  </a:cubicBezTo>
                  <a:cubicBezTo>
                    <a:pt x="61" y="58"/>
                    <a:pt x="60" y="58"/>
                    <a:pt x="60" y="56"/>
                  </a:cubicBezTo>
                  <a:cubicBezTo>
                    <a:pt x="60" y="55"/>
                    <a:pt x="61" y="54"/>
                    <a:pt x="62" y="54"/>
                  </a:cubicBezTo>
                  <a:cubicBezTo>
                    <a:pt x="65" y="54"/>
                    <a:pt x="68" y="52"/>
                    <a:pt x="68" y="4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3" y="44"/>
                    <a:pt x="52" y="44"/>
                    <a:pt x="52" y="42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5"/>
                    <a:pt x="53" y="24"/>
                    <a:pt x="5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24"/>
                    <a:pt x="72" y="25"/>
                    <a:pt x="72" y="26"/>
                  </a:cubicBezTo>
                  <a:lnTo>
                    <a:pt x="72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DFC8D2E0-9A05-476B-9BD5-5F97B7A7A52E}"/>
              </a:ext>
            </a:extLst>
          </p:cNvPr>
          <p:cNvGrpSpPr/>
          <p:nvPr/>
        </p:nvGrpSpPr>
        <p:grpSpPr>
          <a:xfrm>
            <a:off x="9647825" y="2735515"/>
            <a:ext cx="253012" cy="234065"/>
            <a:chOff x="4113213" y="3621088"/>
            <a:chExt cx="360363" cy="333375"/>
          </a:xfrm>
          <a:solidFill>
            <a:schemeClr val="bg1"/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9262EE10-84FE-4D45-83DB-000D6E2AA1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7988" y="3725863"/>
              <a:ext cx="44450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C39AAB46-AA12-4DD2-B99E-60354FEEB8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763" y="3725863"/>
              <a:ext cx="46038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Freeform 66">
              <a:extLst>
                <a:ext uri="{FF2B5EF4-FFF2-40B4-BE49-F238E27FC236}">
                  <a16:creationId xmlns:a16="http://schemas.microsoft.com/office/drawing/2014/main" xmlns="" id="{FEE714D7-041F-4EFA-BB45-F10E35D94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3621088"/>
              <a:ext cx="360363" cy="333375"/>
            </a:xfrm>
            <a:custGeom>
              <a:avLst/>
              <a:gdLst>
                <a:gd name="T0" fmla="*/ 48 w 96"/>
                <a:gd name="T1" fmla="*/ 0 h 89"/>
                <a:gd name="T2" fmla="*/ 0 w 96"/>
                <a:gd name="T3" fmla="*/ 40 h 89"/>
                <a:gd name="T4" fmla="*/ 13 w 96"/>
                <a:gd name="T5" fmla="*/ 67 h 89"/>
                <a:gd name="T6" fmla="*/ 4 w 96"/>
                <a:gd name="T7" fmla="*/ 87 h 89"/>
                <a:gd name="T8" fmla="*/ 4 w 96"/>
                <a:gd name="T9" fmla="*/ 89 h 89"/>
                <a:gd name="T10" fmla="*/ 5 w 96"/>
                <a:gd name="T11" fmla="*/ 89 h 89"/>
                <a:gd name="T12" fmla="*/ 6 w 96"/>
                <a:gd name="T13" fmla="*/ 89 h 89"/>
                <a:gd name="T14" fmla="*/ 32 w 96"/>
                <a:gd name="T15" fmla="*/ 77 h 89"/>
                <a:gd name="T16" fmla="*/ 48 w 96"/>
                <a:gd name="T17" fmla="*/ 80 h 89"/>
                <a:gd name="T18" fmla="*/ 96 w 96"/>
                <a:gd name="T19" fmla="*/ 40 h 89"/>
                <a:gd name="T20" fmla="*/ 48 w 96"/>
                <a:gd name="T21" fmla="*/ 0 h 89"/>
                <a:gd name="T22" fmla="*/ 44 w 96"/>
                <a:gd name="T23" fmla="*/ 42 h 89"/>
                <a:gd name="T24" fmla="*/ 44 w 96"/>
                <a:gd name="T25" fmla="*/ 48 h 89"/>
                <a:gd name="T26" fmla="*/ 34 w 96"/>
                <a:gd name="T27" fmla="*/ 58 h 89"/>
                <a:gd name="T28" fmla="*/ 32 w 96"/>
                <a:gd name="T29" fmla="*/ 56 h 89"/>
                <a:gd name="T30" fmla="*/ 34 w 96"/>
                <a:gd name="T31" fmla="*/ 54 h 89"/>
                <a:gd name="T32" fmla="*/ 40 w 96"/>
                <a:gd name="T33" fmla="*/ 48 h 89"/>
                <a:gd name="T34" fmla="*/ 40 w 96"/>
                <a:gd name="T35" fmla="*/ 44 h 89"/>
                <a:gd name="T36" fmla="*/ 26 w 96"/>
                <a:gd name="T37" fmla="*/ 44 h 89"/>
                <a:gd name="T38" fmla="*/ 24 w 96"/>
                <a:gd name="T39" fmla="*/ 42 h 89"/>
                <a:gd name="T40" fmla="*/ 24 w 96"/>
                <a:gd name="T41" fmla="*/ 26 h 89"/>
                <a:gd name="T42" fmla="*/ 26 w 96"/>
                <a:gd name="T43" fmla="*/ 24 h 89"/>
                <a:gd name="T44" fmla="*/ 42 w 96"/>
                <a:gd name="T45" fmla="*/ 24 h 89"/>
                <a:gd name="T46" fmla="*/ 44 w 96"/>
                <a:gd name="T47" fmla="*/ 26 h 89"/>
                <a:gd name="T48" fmla="*/ 44 w 96"/>
                <a:gd name="T49" fmla="*/ 42 h 89"/>
                <a:gd name="T50" fmla="*/ 72 w 96"/>
                <a:gd name="T51" fmla="*/ 42 h 89"/>
                <a:gd name="T52" fmla="*/ 72 w 96"/>
                <a:gd name="T53" fmla="*/ 48 h 89"/>
                <a:gd name="T54" fmla="*/ 62 w 96"/>
                <a:gd name="T55" fmla="*/ 58 h 89"/>
                <a:gd name="T56" fmla="*/ 60 w 96"/>
                <a:gd name="T57" fmla="*/ 56 h 89"/>
                <a:gd name="T58" fmla="*/ 62 w 96"/>
                <a:gd name="T59" fmla="*/ 54 h 89"/>
                <a:gd name="T60" fmla="*/ 68 w 96"/>
                <a:gd name="T61" fmla="*/ 48 h 89"/>
                <a:gd name="T62" fmla="*/ 68 w 96"/>
                <a:gd name="T63" fmla="*/ 44 h 89"/>
                <a:gd name="T64" fmla="*/ 54 w 96"/>
                <a:gd name="T65" fmla="*/ 44 h 89"/>
                <a:gd name="T66" fmla="*/ 52 w 96"/>
                <a:gd name="T67" fmla="*/ 42 h 89"/>
                <a:gd name="T68" fmla="*/ 52 w 96"/>
                <a:gd name="T69" fmla="*/ 26 h 89"/>
                <a:gd name="T70" fmla="*/ 54 w 96"/>
                <a:gd name="T71" fmla="*/ 24 h 89"/>
                <a:gd name="T72" fmla="*/ 70 w 96"/>
                <a:gd name="T73" fmla="*/ 24 h 89"/>
                <a:gd name="T74" fmla="*/ 72 w 96"/>
                <a:gd name="T75" fmla="*/ 26 h 89"/>
                <a:gd name="T76" fmla="*/ 72 w 96"/>
                <a:gd name="T77" fmla="*/ 4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89">
                  <a:moveTo>
                    <a:pt x="48" y="0"/>
                  </a:moveTo>
                  <a:cubicBezTo>
                    <a:pt x="22" y="0"/>
                    <a:pt x="0" y="18"/>
                    <a:pt x="0" y="40"/>
                  </a:cubicBezTo>
                  <a:cubicBezTo>
                    <a:pt x="0" y="50"/>
                    <a:pt x="5" y="60"/>
                    <a:pt x="13" y="67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3" y="87"/>
                    <a:pt x="3" y="88"/>
                    <a:pt x="4" y="89"/>
                  </a:cubicBezTo>
                  <a:cubicBezTo>
                    <a:pt x="4" y="89"/>
                    <a:pt x="5" y="89"/>
                    <a:pt x="5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7" y="79"/>
                    <a:pt x="43" y="80"/>
                    <a:pt x="48" y="80"/>
                  </a:cubicBezTo>
                  <a:cubicBezTo>
                    <a:pt x="74" y="80"/>
                    <a:pt x="96" y="62"/>
                    <a:pt x="96" y="40"/>
                  </a:cubicBezTo>
                  <a:cubicBezTo>
                    <a:pt x="96" y="18"/>
                    <a:pt x="74" y="0"/>
                    <a:pt x="48" y="0"/>
                  </a:cubicBezTo>
                  <a:close/>
                  <a:moveTo>
                    <a:pt x="44" y="42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54"/>
                    <a:pt x="39" y="58"/>
                    <a:pt x="34" y="58"/>
                  </a:cubicBezTo>
                  <a:cubicBezTo>
                    <a:pt x="33" y="58"/>
                    <a:pt x="32" y="58"/>
                    <a:pt x="32" y="56"/>
                  </a:cubicBezTo>
                  <a:cubicBezTo>
                    <a:pt x="32" y="55"/>
                    <a:pt x="33" y="54"/>
                    <a:pt x="34" y="54"/>
                  </a:cubicBezTo>
                  <a:cubicBezTo>
                    <a:pt x="37" y="54"/>
                    <a:pt x="40" y="52"/>
                    <a:pt x="40" y="48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5" y="44"/>
                    <a:pt x="24" y="44"/>
                    <a:pt x="24" y="4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5"/>
                    <a:pt x="25" y="24"/>
                    <a:pt x="26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4" y="25"/>
                    <a:pt x="44" y="26"/>
                  </a:cubicBezTo>
                  <a:lnTo>
                    <a:pt x="44" y="42"/>
                  </a:lnTo>
                  <a:close/>
                  <a:moveTo>
                    <a:pt x="72" y="42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54"/>
                    <a:pt x="67" y="58"/>
                    <a:pt x="62" y="58"/>
                  </a:cubicBezTo>
                  <a:cubicBezTo>
                    <a:pt x="61" y="58"/>
                    <a:pt x="60" y="58"/>
                    <a:pt x="60" y="56"/>
                  </a:cubicBezTo>
                  <a:cubicBezTo>
                    <a:pt x="60" y="55"/>
                    <a:pt x="61" y="54"/>
                    <a:pt x="62" y="54"/>
                  </a:cubicBezTo>
                  <a:cubicBezTo>
                    <a:pt x="65" y="54"/>
                    <a:pt x="68" y="52"/>
                    <a:pt x="68" y="48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3" y="44"/>
                    <a:pt x="52" y="44"/>
                    <a:pt x="52" y="42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5"/>
                    <a:pt x="53" y="24"/>
                    <a:pt x="54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24"/>
                    <a:pt x="72" y="25"/>
                    <a:pt x="72" y="26"/>
                  </a:cubicBezTo>
                  <a:lnTo>
                    <a:pt x="72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58" name="Subtitle 176">
            <a:extLst>
              <a:ext uri="{FF2B5EF4-FFF2-40B4-BE49-F238E27FC236}">
                <a16:creationId xmlns:a16="http://schemas.microsoft.com/office/drawing/2014/main" xmlns="" id="{4E4173E5-0842-4DAD-9084-260CE8FE018D}"/>
              </a:ext>
            </a:extLst>
          </p:cNvPr>
          <p:cNvSpPr txBox="1">
            <a:spLocks/>
          </p:cNvSpPr>
          <p:nvPr/>
        </p:nvSpPr>
        <p:spPr>
          <a:xfrm>
            <a:off x="872706" y="6015567"/>
            <a:ext cx="10466332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6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endParaRPr lang="en-ID" sz="16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9" name="Slide Number Placeholder 58">
            <a:extLst>
              <a:ext uri="{FF2B5EF4-FFF2-40B4-BE49-F238E27FC236}">
                <a16:creationId xmlns:a16="http://schemas.microsoft.com/office/drawing/2014/main" xmlns="" id="{06F4C58E-1F0C-458C-B4C8-2B83D7E29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23828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xmlns="" id="{A4523FA1-92DF-4BA8-BBA2-BBFD50CFFA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49722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161" name="think-cell Slide" r:id="rId6" imgW="360" imgH="360" progId="">
              <p:embed/>
            </p:oleObj>
          </a:graphicData>
        </a:graphic>
      </p:graphicFrame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xmlns="" id="{7DA0DB25-0032-402C-8DE1-F1D113A8DD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33" name="Picture 32" descr="A view of a snow covered mountain&#10;&#10;Description automatically generated">
            <a:extLst>
              <a:ext uri="{FF2B5EF4-FFF2-40B4-BE49-F238E27FC236}">
                <a16:creationId xmlns:a16="http://schemas.microsoft.com/office/drawing/2014/main" xmlns="" id="{8F64ED4E-39AD-48D5-BF77-6CFFFE5EF41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" t="6699" r="328"/>
          <a:stretch/>
        </p:blipFill>
        <p:spPr>
          <a:xfrm>
            <a:off x="-1" y="3763418"/>
            <a:ext cx="12191991" cy="3117273"/>
          </a:xfrm>
          <a:custGeom>
            <a:avLst/>
            <a:gdLst>
              <a:gd name="connsiteX0" fmla="*/ 0 w 11412762"/>
              <a:gd name="connsiteY0" fmla="*/ 0 h 3117273"/>
              <a:gd name="connsiteX1" fmla="*/ 11412762 w 11412762"/>
              <a:gd name="connsiteY1" fmla="*/ 0 h 3117273"/>
              <a:gd name="connsiteX2" fmla="*/ 11412762 w 11412762"/>
              <a:gd name="connsiteY2" fmla="*/ 3117273 h 3117273"/>
              <a:gd name="connsiteX3" fmla="*/ 0 w 11412762"/>
              <a:gd name="connsiteY3" fmla="*/ 3117273 h 311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12762" h="3117273">
                <a:moveTo>
                  <a:pt x="0" y="0"/>
                </a:moveTo>
                <a:lnTo>
                  <a:pt x="11412762" y="0"/>
                </a:lnTo>
                <a:lnTo>
                  <a:pt x="11412762" y="3117273"/>
                </a:lnTo>
                <a:lnTo>
                  <a:pt x="0" y="3117273"/>
                </a:lnTo>
                <a:close/>
              </a:path>
            </a:pathLst>
          </a:custGeom>
        </p:spPr>
      </p:pic>
      <p:pic>
        <p:nvPicPr>
          <p:cNvPr id="31" name="Picture 30" descr="Map&#10;&#10;Description automatically generated">
            <a:extLst>
              <a:ext uri="{FF2B5EF4-FFF2-40B4-BE49-F238E27FC236}">
                <a16:creationId xmlns:a16="http://schemas.microsoft.com/office/drawing/2014/main" xmlns="" id="{2741CD5F-B952-443A-B200-DEB4D778B2D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/>
            <a:extLst>
              <a:ext uri="{BEBA8EAE-BF5A-486C-A8C5-ECC9F3942E4B}">
                <a14:imgProps xmlns:a14="http://schemas.microsoft.com/office/drawing/2010/main" xmlns="">
                  <a14:imgLayer r:embed="rId10">
                    <a14:imgEffect>
                      <a14:saturation sa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" t="19751" r="334" b="27872"/>
          <a:stretch/>
        </p:blipFill>
        <p:spPr>
          <a:xfrm>
            <a:off x="606989" y="2346959"/>
            <a:ext cx="10978011" cy="383286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C245ACEC-A392-41FA-B6C5-9B98AA9DA552}"/>
              </a:ext>
            </a:extLst>
          </p:cNvPr>
          <p:cNvSpPr/>
          <p:nvPr/>
        </p:nvSpPr>
        <p:spPr>
          <a:xfrm>
            <a:off x="606989" y="2346958"/>
            <a:ext cx="10978013" cy="3832861"/>
          </a:xfrm>
          <a:prstGeom prst="rect">
            <a:avLst/>
          </a:prstGeom>
          <a:solidFill>
            <a:srgbClr val="17223B">
              <a:alpha val="90000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2438E3-4148-4AC2-93C9-86BD1F8CE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91" y="425432"/>
            <a:ext cx="10978019" cy="824848"/>
          </a:xfrm>
        </p:spPr>
        <p:txBody>
          <a:bodyPr/>
          <a:lstStyle/>
          <a:p>
            <a:r>
              <a:rPr lang="en-US" dirty="0"/>
              <a:t>Client Testimonial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DE1F2B89-46F8-4164-BCBF-0C4E95F16602}"/>
              </a:ext>
            </a:extLst>
          </p:cNvPr>
          <p:cNvGrpSpPr/>
          <p:nvPr/>
        </p:nvGrpSpPr>
        <p:grpSpPr>
          <a:xfrm>
            <a:off x="3351496" y="3451201"/>
            <a:ext cx="5489010" cy="2231569"/>
            <a:chOff x="3351496" y="-2076450"/>
            <a:chExt cx="5489010" cy="1095375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24707240-158C-463A-96B8-ACD655CC562F}"/>
                </a:ext>
              </a:extLst>
            </p:cNvPr>
            <p:cNvCxnSpPr>
              <a:cxnSpLocks/>
            </p:cNvCxnSpPr>
            <p:nvPr/>
          </p:nvCxnSpPr>
          <p:spPr>
            <a:xfrm>
              <a:off x="3351496" y="-2076450"/>
              <a:ext cx="0" cy="10953750"/>
            </a:xfrm>
            <a:prstGeom prst="line">
              <a:avLst/>
            </a:prstGeom>
            <a:ln>
              <a:solidFill>
                <a:schemeClr val="bg1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F7CB7C83-CC4B-4FB5-80EE-F57C2F738B91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-2076450"/>
              <a:ext cx="0" cy="10953750"/>
            </a:xfrm>
            <a:prstGeom prst="line">
              <a:avLst/>
            </a:prstGeom>
            <a:ln>
              <a:solidFill>
                <a:schemeClr val="bg1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xmlns="" id="{A8C48573-70B4-4369-89B5-84684DA53BC5}"/>
                </a:ext>
              </a:extLst>
            </p:cNvPr>
            <p:cNvCxnSpPr>
              <a:cxnSpLocks/>
            </p:cNvCxnSpPr>
            <p:nvPr/>
          </p:nvCxnSpPr>
          <p:spPr>
            <a:xfrm>
              <a:off x="8840506" y="-2076450"/>
              <a:ext cx="0" cy="10953750"/>
            </a:xfrm>
            <a:prstGeom prst="line">
              <a:avLst/>
            </a:prstGeom>
            <a:ln>
              <a:solidFill>
                <a:schemeClr val="bg1">
                  <a:alpha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3B669EA9-0BFD-49AD-90DD-D3AE5D0DA356}"/>
              </a:ext>
            </a:extLst>
          </p:cNvPr>
          <p:cNvSpPr/>
          <p:nvPr/>
        </p:nvSpPr>
        <p:spPr>
          <a:xfrm>
            <a:off x="1245818" y="1580889"/>
            <a:ext cx="1466850" cy="1466850"/>
          </a:xfrm>
          <a:prstGeom prst="ellips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DC1CD26C-ACAC-4EFA-9877-59CC9967FA58}"/>
              </a:ext>
            </a:extLst>
          </p:cNvPr>
          <p:cNvSpPr/>
          <p:nvPr/>
        </p:nvSpPr>
        <p:spPr>
          <a:xfrm>
            <a:off x="3990323" y="1580889"/>
            <a:ext cx="1466850" cy="1466850"/>
          </a:xfrm>
          <a:prstGeom prst="ellips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1DE00844-246E-4F0E-B2B0-DC4380E7917C}"/>
              </a:ext>
            </a:extLst>
          </p:cNvPr>
          <p:cNvSpPr/>
          <p:nvPr/>
        </p:nvSpPr>
        <p:spPr>
          <a:xfrm>
            <a:off x="6734828" y="1580889"/>
            <a:ext cx="1466850" cy="1466850"/>
          </a:xfrm>
          <a:prstGeom prst="ellips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ECD55308-BE05-457B-918E-F1D52A2F22FB}"/>
              </a:ext>
            </a:extLst>
          </p:cNvPr>
          <p:cNvSpPr/>
          <p:nvPr/>
        </p:nvSpPr>
        <p:spPr>
          <a:xfrm>
            <a:off x="9479333" y="1580889"/>
            <a:ext cx="1466850" cy="1466850"/>
          </a:xfrm>
          <a:prstGeom prst="ellips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xmlns="" id="{661AFF6E-7E0A-4368-9898-10F90B990E77}"/>
              </a:ext>
            </a:extLst>
          </p:cNvPr>
          <p:cNvSpPr/>
          <p:nvPr/>
        </p:nvSpPr>
        <p:spPr>
          <a:xfrm flipV="1">
            <a:off x="1653334" y="2966655"/>
            <a:ext cx="651819" cy="279177"/>
          </a:xfrm>
          <a:prstGeom prst="triangl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xmlns="" id="{0AECCB01-3445-49C0-821E-DEE042EF2D5B}"/>
              </a:ext>
            </a:extLst>
          </p:cNvPr>
          <p:cNvSpPr/>
          <p:nvPr/>
        </p:nvSpPr>
        <p:spPr>
          <a:xfrm flipV="1">
            <a:off x="4397839" y="2966655"/>
            <a:ext cx="651819" cy="279177"/>
          </a:xfrm>
          <a:prstGeom prst="triangl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xmlns="" id="{FF465521-ECF0-4AE7-ADED-D0079659169E}"/>
              </a:ext>
            </a:extLst>
          </p:cNvPr>
          <p:cNvSpPr/>
          <p:nvPr/>
        </p:nvSpPr>
        <p:spPr>
          <a:xfrm flipV="1">
            <a:off x="7142344" y="2966655"/>
            <a:ext cx="651819" cy="279177"/>
          </a:xfrm>
          <a:prstGeom prst="triangl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xmlns="" id="{04B65848-BF22-42D1-99A8-623AD108E4F6}"/>
              </a:ext>
            </a:extLst>
          </p:cNvPr>
          <p:cNvSpPr/>
          <p:nvPr/>
        </p:nvSpPr>
        <p:spPr>
          <a:xfrm flipV="1">
            <a:off x="9886849" y="2966655"/>
            <a:ext cx="651819" cy="279177"/>
          </a:xfrm>
          <a:prstGeom prst="triangle">
            <a:avLst/>
          </a:prstGeom>
          <a:solidFill>
            <a:srgbClr val="EE45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Subtitle 176">
            <a:extLst>
              <a:ext uri="{FF2B5EF4-FFF2-40B4-BE49-F238E27FC236}">
                <a16:creationId xmlns:a16="http://schemas.microsoft.com/office/drawing/2014/main" xmlns="" id="{A34187EE-775D-48D5-876F-7DFADB5FA96D}"/>
              </a:ext>
            </a:extLst>
          </p:cNvPr>
          <p:cNvSpPr txBox="1">
            <a:spLocks/>
          </p:cNvSpPr>
          <p:nvPr/>
        </p:nvSpPr>
        <p:spPr>
          <a:xfrm>
            <a:off x="845142" y="3451201"/>
            <a:ext cx="2268194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facilis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cursus. </a:t>
            </a:r>
          </a:p>
        </p:txBody>
      </p:sp>
      <p:sp>
        <p:nvSpPr>
          <p:cNvPr id="27" name="Subtitle 176">
            <a:extLst>
              <a:ext uri="{FF2B5EF4-FFF2-40B4-BE49-F238E27FC236}">
                <a16:creationId xmlns:a16="http://schemas.microsoft.com/office/drawing/2014/main" xmlns="" id="{06E2A0EF-54B8-45D8-AFC6-2A33FDF29217}"/>
              </a:ext>
            </a:extLst>
          </p:cNvPr>
          <p:cNvSpPr txBox="1">
            <a:spLocks/>
          </p:cNvSpPr>
          <p:nvPr/>
        </p:nvSpPr>
        <p:spPr>
          <a:xfrm>
            <a:off x="3589648" y="3451201"/>
            <a:ext cx="2268194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facilis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cursus. </a:t>
            </a:r>
          </a:p>
        </p:txBody>
      </p:sp>
      <p:sp>
        <p:nvSpPr>
          <p:cNvPr id="28" name="Subtitle 176">
            <a:extLst>
              <a:ext uri="{FF2B5EF4-FFF2-40B4-BE49-F238E27FC236}">
                <a16:creationId xmlns:a16="http://schemas.microsoft.com/office/drawing/2014/main" xmlns="" id="{C5E68743-4C29-4CCC-B2C6-C2F1754496BF}"/>
              </a:ext>
            </a:extLst>
          </p:cNvPr>
          <p:cNvSpPr txBox="1">
            <a:spLocks/>
          </p:cNvSpPr>
          <p:nvPr/>
        </p:nvSpPr>
        <p:spPr>
          <a:xfrm>
            <a:off x="6334154" y="3451201"/>
            <a:ext cx="2268194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facilis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cursus. </a:t>
            </a:r>
          </a:p>
        </p:txBody>
      </p:sp>
      <p:sp>
        <p:nvSpPr>
          <p:cNvPr id="29" name="Subtitle 176">
            <a:extLst>
              <a:ext uri="{FF2B5EF4-FFF2-40B4-BE49-F238E27FC236}">
                <a16:creationId xmlns:a16="http://schemas.microsoft.com/office/drawing/2014/main" xmlns="" id="{41C15EB4-C608-49A9-A4F8-AE91CBFAB540}"/>
              </a:ext>
            </a:extLst>
          </p:cNvPr>
          <p:cNvSpPr txBox="1">
            <a:spLocks/>
          </p:cNvSpPr>
          <p:nvPr/>
        </p:nvSpPr>
        <p:spPr>
          <a:xfrm>
            <a:off x="9078661" y="3451201"/>
            <a:ext cx="2268194" cy="22159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6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facilisis</a:t>
            </a:r>
            <a:r>
              <a:rPr lang="en-ID" sz="1600" i="1" dirty="0">
                <a:solidFill>
                  <a:schemeClr val="bg1"/>
                </a:solidFill>
                <a:latin typeface="Georgia" panose="02040502050405020303" pitchFamily="18" charset="0"/>
              </a:rPr>
              <a:t> cursus. </a:t>
            </a:r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xmlns="" id="{5E927FFC-3A00-427C-AE78-4E29A69C3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758808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ABB33340-E221-4B85-9106-EF0F14BABF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13638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183" name="think-cell Slide" r:id="rId6" imgW="360" imgH="360" progId="">
              <p:embed/>
            </p:oleObj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DA59C909-1669-42B2-8E50-F08CB67F30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F2C9DFB7-3F0C-4E60-9075-DDFCC3DB30E7}"/>
              </a:ext>
            </a:extLst>
          </p:cNvPr>
          <p:cNvSpPr/>
          <p:nvPr/>
        </p:nvSpPr>
        <p:spPr>
          <a:xfrm>
            <a:off x="0" y="5029201"/>
            <a:ext cx="12192000" cy="1800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9A121611-CCBD-44B5-A3EB-FEC4D8184F26}"/>
              </a:ext>
            </a:extLst>
          </p:cNvPr>
          <p:cNvGrpSpPr/>
          <p:nvPr/>
        </p:nvGrpSpPr>
        <p:grpSpPr>
          <a:xfrm>
            <a:off x="1364343" y="1627446"/>
            <a:ext cx="10056073" cy="4437574"/>
            <a:chOff x="1364343" y="6890810"/>
            <a:chExt cx="10056073" cy="4437574"/>
          </a:xfrm>
        </p:grpSpPr>
        <p:pic>
          <p:nvPicPr>
            <p:cNvPr id="43" name="Picture 42" descr="A picture containing outdoor, scene, building, sidewalk&#10;&#10;Description automatically generated">
              <a:extLst>
                <a:ext uri="{FF2B5EF4-FFF2-40B4-BE49-F238E27FC236}">
                  <a16:creationId xmlns:a16="http://schemas.microsoft.com/office/drawing/2014/main" xmlns="" id="{6F67EABE-C340-4945-9974-3F6690EC27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6920989" y="9289207"/>
              <a:ext cx="4499427" cy="2039177"/>
            </a:xfrm>
            <a:custGeom>
              <a:avLst/>
              <a:gdLst>
                <a:gd name="connsiteX0" fmla="*/ 0 w 4499427"/>
                <a:gd name="connsiteY0" fmla="*/ 0 h 2039177"/>
                <a:gd name="connsiteX1" fmla="*/ 4499427 w 4499427"/>
                <a:gd name="connsiteY1" fmla="*/ 0 h 2039177"/>
                <a:gd name="connsiteX2" fmla="*/ 4499427 w 4499427"/>
                <a:gd name="connsiteY2" fmla="*/ 2039177 h 2039177"/>
                <a:gd name="connsiteX3" fmla="*/ 0 w 4499427"/>
                <a:gd name="connsiteY3" fmla="*/ 2039177 h 203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9427" h="2039177">
                  <a:moveTo>
                    <a:pt x="0" y="0"/>
                  </a:moveTo>
                  <a:lnTo>
                    <a:pt x="4499427" y="0"/>
                  </a:lnTo>
                  <a:lnTo>
                    <a:pt x="4499427" y="2039177"/>
                  </a:lnTo>
                  <a:lnTo>
                    <a:pt x="0" y="2039177"/>
                  </a:lnTo>
                  <a:close/>
                </a:path>
              </a:pathLst>
            </a:custGeom>
          </p:spPr>
        </p:pic>
        <p:pic>
          <p:nvPicPr>
            <p:cNvPr id="41" name="Picture 40" descr="A picture containing outdoor, scene, building, sidewalk&#10;&#10;Description automatically generated">
              <a:extLst>
                <a:ext uri="{FF2B5EF4-FFF2-40B4-BE49-F238E27FC236}">
                  <a16:creationId xmlns:a16="http://schemas.microsoft.com/office/drawing/2014/main" xmlns="" id="{DE853A1B-0A6D-40BC-8CFC-424B5485D3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6920989" y="6890810"/>
              <a:ext cx="4499427" cy="2039196"/>
            </a:xfrm>
            <a:custGeom>
              <a:avLst/>
              <a:gdLst>
                <a:gd name="connsiteX0" fmla="*/ 0 w 4499427"/>
                <a:gd name="connsiteY0" fmla="*/ 0 h 2039196"/>
                <a:gd name="connsiteX1" fmla="*/ 4499427 w 4499427"/>
                <a:gd name="connsiteY1" fmla="*/ 0 h 2039196"/>
                <a:gd name="connsiteX2" fmla="*/ 4499427 w 4499427"/>
                <a:gd name="connsiteY2" fmla="*/ 2039196 h 2039196"/>
                <a:gd name="connsiteX3" fmla="*/ 0 w 4499427"/>
                <a:gd name="connsiteY3" fmla="*/ 2039196 h 203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9427" h="2039196">
                  <a:moveTo>
                    <a:pt x="0" y="0"/>
                  </a:moveTo>
                  <a:lnTo>
                    <a:pt x="4499427" y="0"/>
                  </a:lnTo>
                  <a:lnTo>
                    <a:pt x="4499427" y="2039196"/>
                  </a:lnTo>
                  <a:lnTo>
                    <a:pt x="0" y="2039196"/>
                  </a:lnTo>
                  <a:close/>
                </a:path>
              </a:pathLst>
            </a:custGeom>
          </p:spPr>
        </p:pic>
        <p:pic>
          <p:nvPicPr>
            <p:cNvPr id="39" name="Picture 38" descr="A picture containing outdoor, scene, building, sidewalk&#10;&#10;Description automatically generated">
              <a:extLst>
                <a:ext uri="{FF2B5EF4-FFF2-40B4-BE49-F238E27FC236}">
                  <a16:creationId xmlns:a16="http://schemas.microsoft.com/office/drawing/2014/main" xmlns="" id="{BD6120D4-773B-40D8-95D9-70589026B1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1364343" y="9289207"/>
              <a:ext cx="4499429" cy="2039177"/>
            </a:xfrm>
            <a:custGeom>
              <a:avLst/>
              <a:gdLst>
                <a:gd name="connsiteX0" fmla="*/ 0 w 4499429"/>
                <a:gd name="connsiteY0" fmla="*/ 0 h 2039177"/>
                <a:gd name="connsiteX1" fmla="*/ 4499429 w 4499429"/>
                <a:gd name="connsiteY1" fmla="*/ 0 h 2039177"/>
                <a:gd name="connsiteX2" fmla="*/ 4499429 w 4499429"/>
                <a:gd name="connsiteY2" fmla="*/ 2039177 h 2039177"/>
                <a:gd name="connsiteX3" fmla="*/ 0 w 4499429"/>
                <a:gd name="connsiteY3" fmla="*/ 2039177 h 2039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9429" h="2039177">
                  <a:moveTo>
                    <a:pt x="0" y="0"/>
                  </a:moveTo>
                  <a:lnTo>
                    <a:pt x="4499429" y="0"/>
                  </a:lnTo>
                  <a:lnTo>
                    <a:pt x="4499429" y="2039177"/>
                  </a:lnTo>
                  <a:lnTo>
                    <a:pt x="0" y="2039177"/>
                  </a:lnTo>
                  <a:close/>
                </a:path>
              </a:pathLst>
            </a:custGeom>
          </p:spPr>
        </p:pic>
        <p:pic>
          <p:nvPicPr>
            <p:cNvPr id="37" name="Picture 36" descr="A picture containing outdoor, scene, building, sidewalk&#10;&#10;Description automatically generated">
              <a:extLst>
                <a:ext uri="{FF2B5EF4-FFF2-40B4-BE49-F238E27FC236}">
                  <a16:creationId xmlns:a16="http://schemas.microsoft.com/office/drawing/2014/main" xmlns="" id="{C66157F8-8764-4601-A643-DFC0878616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BEBA8EAE-BF5A-486C-A8C5-ECC9F3942E4B}">
                  <a14:imgProps xmlns:a14="http://schemas.microsoft.com/office/drawing/2010/main" xmlns="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1364343" y="6890810"/>
              <a:ext cx="4499429" cy="2039196"/>
            </a:xfrm>
            <a:custGeom>
              <a:avLst/>
              <a:gdLst>
                <a:gd name="connsiteX0" fmla="*/ 0 w 4499429"/>
                <a:gd name="connsiteY0" fmla="*/ 0 h 2039196"/>
                <a:gd name="connsiteX1" fmla="*/ 4499429 w 4499429"/>
                <a:gd name="connsiteY1" fmla="*/ 0 h 2039196"/>
                <a:gd name="connsiteX2" fmla="*/ 4499429 w 4499429"/>
                <a:gd name="connsiteY2" fmla="*/ 2039196 h 2039196"/>
                <a:gd name="connsiteX3" fmla="*/ 0 w 4499429"/>
                <a:gd name="connsiteY3" fmla="*/ 2039196 h 203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9429" h="2039196">
                  <a:moveTo>
                    <a:pt x="0" y="0"/>
                  </a:moveTo>
                  <a:lnTo>
                    <a:pt x="4499429" y="0"/>
                  </a:lnTo>
                  <a:lnTo>
                    <a:pt x="4499429" y="2039196"/>
                  </a:lnTo>
                  <a:lnTo>
                    <a:pt x="0" y="2039196"/>
                  </a:lnTo>
                  <a:close/>
                </a:path>
              </a:pathLst>
            </a:custGeom>
          </p:spPr>
        </p:pic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22D9DF5C-4BE3-46FE-B365-AB6BB5515060}"/>
              </a:ext>
            </a:extLst>
          </p:cNvPr>
          <p:cNvSpPr/>
          <p:nvPr/>
        </p:nvSpPr>
        <p:spPr>
          <a:xfrm>
            <a:off x="6920988" y="1627446"/>
            <a:ext cx="4499429" cy="2039196"/>
          </a:xfrm>
          <a:prstGeom prst="rect">
            <a:avLst/>
          </a:prstGeom>
          <a:solidFill>
            <a:srgbClr val="17223B">
              <a:alpha val="90000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E9C55A66-9172-4EDE-8B6F-8ABC3E78E5B4}"/>
              </a:ext>
            </a:extLst>
          </p:cNvPr>
          <p:cNvSpPr/>
          <p:nvPr/>
        </p:nvSpPr>
        <p:spPr>
          <a:xfrm>
            <a:off x="6920988" y="4025843"/>
            <a:ext cx="4499429" cy="2039196"/>
          </a:xfrm>
          <a:prstGeom prst="rect">
            <a:avLst/>
          </a:prstGeom>
          <a:solidFill>
            <a:srgbClr val="17223B">
              <a:alpha val="90000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FF409C57-E8AB-4AB9-B03E-BEC7BBC9CEDD}"/>
              </a:ext>
            </a:extLst>
          </p:cNvPr>
          <p:cNvSpPr/>
          <p:nvPr/>
        </p:nvSpPr>
        <p:spPr>
          <a:xfrm>
            <a:off x="1364342" y="1627446"/>
            <a:ext cx="4499429" cy="2039196"/>
          </a:xfrm>
          <a:prstGeom prst="rect">
            <a:avLst/>
          </a:prstGeom>
          <a:solidFill>
            <a:srgbClr val="17223B">
              <a:alpha val="90000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D0B452DF-3323-49BF-B9EB-4A7431D30C0D}"/>
              </a:ext>
            </a:extLst>
          </p:cNvPr>
          <p:cNvSpPr/>
          <p:nvPr/>
        </p:nvSpPr>
        <p:spPr>
          <a:xfrm>
            <a:off x="1364342" y="4025843"/>
            <a:ext cx="4499429" cy="2039196"/>
          </a:xfrm>
          <a:prstGeom prst="rect">
            <a:avLst/>
          </a:prstGeom>
          <a:solidFill>
            <a:srgbClr val="17223B">
              <a:alpha val="90000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770825-5F40-4837-8CE6-9D74CC3EA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Testimonials</a:t>
            </a:r>
          </a:p>
        </p:txBody>
      </p:sp>
      <p:sp>
        <p:nvSpPr>
          <p:cNvPr id="24" name="Subtitle 176">
            <a:extLst>
              <a:ext uri="{FF2B5EF4-FFF2-40B4-BE49-F238E27FC236}">
                <a16:creationId xmlns:a16="http://schemas.microsoft.com/office/drawing/2014/main" xmlns="" id="{FF372FA8-AFFB-4865-8590-59C7373BF566}"/>
              </a:ext>
            </a:extLst>
          </p:cNvPr>
          <p:cNvSpPr txBox="1">
            <a:spLocks/>
          </p:cNvSpPr>
          <p:nvPr/>
        </p:nvSpPr>
        <p:spPr>
          <a:xfrm>
            <a:off x="2378697" y="2023026"/>
            <a:ext cx="3238327" cy="19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</a:p>
        </p:txBody>
      </p:sp>
      <p:sp>
        <p:nvSpPr>
          <p:cNvPr id="25" name="Subtitle 176">
            <a:extLst>
              <a:ext uri="{FF2B5EF4-FFF2-40B4-BE49-F238E27FC236}">
                <a16:creationId xmlns:a16="http://schemas.microsoft.com/office/drawing/2014/main" xmlns="" id="{90D8FAA6-F5CF-48C1-82DD-5FECFD6BD278}"/>
              </a:ext>
            </a:extLst>
          </p:cNvPr>
          <p:cNvSpPr txBox="1">
            <a:spLocks/>
          </p:cNvSpPr>
          <p:nvPr/>
        </p:nvSpPr>
        <p:spPr>
          <a:xfrm>
            <a:off x="2378698" y="2286804"/>
            <a:ext cx="3238327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endParaRPr lang="en-ID" sz="14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Subtitle 176">
            <a:extLst>
              <a:ext uri="{FF2B5EF4-FFF2-40B4-BE49-F238E27FC236}">
                <a16:creationId xmlns:a16="http://schemas.microsoft.com/office/drawing/2014/main" xmlns="" id="{825C2BC0-FEDF-4C62-8B2C-769E2E2F0897}"/>
              </a:ext>
            </a:extLst>
          </p:cNvPr>
          <p:cNvSpPr txBox="1">
            <a:spLocks/>
          </p:cNvSpPr>
          <p:nvPr/>
        </p:nvSpPr>
        <p:spPr>
          <a:xfrm>
            <a:off x="2378697" y="4436026"/>
            <a:ext cx="3238327" cy="19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</a:p>
        </p:txBody>
      </p:sp>
      <p:sp>
        <p:nvSpPr>
          <p:cNvPr id="27" name="Subtitle 176">
            <a:extLst>
              <a:ext uri="{FF2B5EF4-FFF2-40B4-BE49-F238E27FC236}">
                <a16:creationId xmlns:a16="http://schemas.microsoft.com/office/drawing/2014/main" xmlns="" id="{1B0E59F0-C838-4D82-959A-86AD23010D90}"/>
              </a:ext>
            </a:extLst>
          </p:cNvPr>
          <p:cNvSpPr txBox="1">
            <a:spLocks/>
          </p:cNvSpPr>
          <p:nvPr/>
        </p:nvSpPr>
        <p:spPr>
          <a:xfrm>
            <a:off x="2378698" y="4699804"/>
            <a:ext cx="3238327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endParaRPr lang="en-ID" sz="14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28" name="Subtitle 176">
            <a:extLst>
              <a:ext uri="{FF2B5EF4-FFF2-40B4-BE49-F238E27FC236}">
                <a16:creationId xmlns:a16="http://schemas.microsoft.com/office/drawing/2014/main" xmlns="" id="{88239944-AF5B-4CCD-896B-FEB2CFB0937A}"/>
              </a:ext>
            </a:extLst>
          </p:cNvPr>
          <p:cNvSpPr txBox="1">
            <a:spLocks/>
          </p:cNvSpPr>
          <p:nvPr/>
        </p:nvSpPr>
        <p:spPr>
          <a:xfrm>
            <a:off x="7978205" y="2023026"/>
            <a:ext cx="3238327" cy="19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</a:p>
        </p:txBody>
      </p:sp>
      <p:sp>
        <p:nvSpPr>
          <p:cNvPr id="29" name="Subtitle 176">
            <a:extLst>
              <a:ext uri="{FF2B5EF4-FFF2-40B4-BE49-F238E27FC236}">
                <a16:creationId xmlns:a16="http://schemas.microsoft.com/office/drawing/2014/main" xmlns="" id="{C94FEF9C-F264-45FB-8FF5-1CE029BB4BB1}"/>
              </a:ext>
            </a:extLst>
          </p:cNvPr>
          <p:cNvSpPr txBox="1">
            <a:spLocks/>
          </p:cNvSpPr>
          <p:nvPr/>
        </p:nvSpPr>
        <p:spPr>
          <a:xfrm>
            <a:off x="7978206" y="2286804"/>
            <a:ext cx="3238327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endParaRPr lang="en-ID" sz="14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0" name="Subtitle 176">
            <a:extLst>
              <a:ext uri="{FF2B5EF4-FFF2-40B4-BE49-F238E27FC236}">
                <a16:creationId xmlns:a16="http://schemas.microsoft.com/office/drawing/2014/main" xmlns="" id="{29F5E255-BC3B-4B2A-8A27-B34248A147DE}"/>
              </a:ext>
            </a:extLst>
          </p:cNvPr>
          <p:cNvSpPr txBox="1">
            <a:spLocks/>
          </p:cNvSpPr>
          <p:nvPr/>
        </p:nvSpPr>
        <p:spPr>
          <a:xfrm>
            <a:off x="7978205" y="4436026"/>
            <a:ext cx="3238327" cy="19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b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</a:p>
        </p:txBody>
      </p:sp>
      <p:sp>
        <p:nvSpPr>
          <p:cNvPr id="31" name="Subtitle 176">
            <a:extLst>
              <a:ext uri="{FF2B5EF4-FFF2-40B4-BE49-F238E27FC236}">
                <a16:creationId xmlns:a16="http://schemas.microsoft.com/office/drawing/2014/main" xmlns="" id="{9A09CC22-7A23-4E33-A6CF-8BF1668BA484}"/>
              </a:ext>
            </a:extLst>
          </p:cNvPr>
          <p:cNvSpPr txBox="1">
            <a:spLocks/>
          </p:cNvSpPr>
          <p:nvPr/>
        </p:nvSpPr>
        <p:spPr>
          <a:xfrm>
            <a:off x="7978206" y="4699804"/>
            <a:ext cx="3238327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. Nam non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just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ed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leo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venenat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lacinia.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Mauris</a:t>
            </a:r>
            <a:r>
              <a:rPr lang="en-ID" sz="1400" i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bg1"/>
                </a:solidFill>
                <a:latin typeface="Georgia" panose="02040502050405020303" pitchFamily="18" charset="0"/>
              </a:rPr>
              <a:t>sodales</a:t>
            </a:r>
            <a:endParaRPr lang="en-ID" sz="1400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730BAAF6-7061-473B-9E9F-876FBC8473F2}"/>
              </a:ext>
            </a:extLst>
          </p:cNvPr>
          <p:cNvGrpSpPr/>
          <p:nvPr/>
        </p:nvGrpSpPr>
        <p:grpSpPr>
          <a:xfrm>
            <a:off x="1828272" y="2453919"/>
            <a:ext cx="386249" cy="386249"/>
            <a:chOff x="2252162" y="2653439"/>
            <a:chExt cx="422458" cy="42245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D8FD66EB-A8D9-46C5-B045-5E903C168E16}"/>
                </a:ext>
              </a:extLst>
            </p:cNvPr>
            <p:cNvSpPr/>
            <p:nvPr/>
          </p:nvSpPr>
          <p:spPr>
            <a:xfrm>
              <a:off x="2252162" y="2653439"/>
              <a:ext cx="422458" cy="422458"/>
            </a:xfrm>
            <a:prstGeom prst="rect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xmlns="" id="{48918959-F54A-4609-8C14-C2D060D8C858}"/>
                </a:ext>
              </a:extLst>
            </p:cNvPr>
            <p:cNvGrpSpPr/>
            <p:nvPr/>
          </p:nvGrpSpPr>
          <p:grpSpPr>
            <a:xfrm>
              <a:off x="2336885" y="2747636"/>
              <a:ext cx="253012" cy="234065"/>
              <a:chOff x="4113213" y="3621088"/>
              <a:chExt cx="360363" cy="333375"/>
            </a:xfrm>
            <a:solidFill>
              <a:schemeClr val="bg1"/>
            </a:solidFill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xmlns="" id="{7954AB99-4D10-415B-947F-2AE94E86C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7988" y="3725863"/>
                <a:ext cx="44450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xmlns="" id="{017A02E2-F85E-4C81-9936-AAD491E1DA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22763" y="3725863"/>
                <a:ext cx="46038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49" name="Freeform 66">
                <a:extLst>
                  <a:ext uri="{FF2B5EF4-FFF2-40B4-BE49-F238E27FC236}">
                    <a16:creationId xmlns:a16="http://schemas.microsoft.com/office/drawing/2014/main" xmlns="" id="{5000F600-222F-4560-BCC5-4842C98286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3213" y="3621088"/>
                <a:ext cx="360363" cy="333375"/>
              </a:xfrm>
              <a:custGeom>
                <a:avLst/>
                <a:gdLst>
                  <a:gd name="T0" fmla="*/ 48 w 96"/>
                  <a:gd name="T1" fmla="*/ 0 h 89"/>
                  <a:gd name="T2" fmla="*/ 0 w 96"/>
                  <a:gd name="T3" fmla="*/ 40 h 89"/>
                  <a:gd name="T4" fmla="*/ 13 w 96"/>
                  <a:gd name="T5" fmla="*/ 67 h 89"/>
                  <a:gd name="T6" fmla="*/ 4 w 96"/>
                  <a:gd name="T7" fmla="*/ 87 h 89"/>
                  <a:gd name="T8" fmla="*/ 4 w 96"/>
                  <a:gd name="T9" fmla="*/ 89 h 89"/>
                  <a:gd name="T10" fmla="*/ 5 w 96"/>
                  <a:gd name="T11" fmla="*/ 89 h 89"/>
                  <a:gd name="T12" fmla="*/ 6 w 96"/>
                  <a:gd name="T13" fmla="*/ 89 h 89"/>
                  <a:gd name="T14" fmla="*/ 32 w 96"/>
                  <a:gd name="T15" fmla="*/ 77 h 89"/>
                  <a:gd name="T16" fmla="*/ 48 w 96"/>
                  <a:gd name="T17" fmla="*/ 80 h 89"/>
                  <a:gd name="T18" fmla="*/ 96 w 96"/>
                  <a:gd name="T19" fmla="*/ 40 h 89"/>
                  <a:gd name="T20" fmla="*/ 48 w 96"/>
                  <a:gd name="T21" fmla="*/ 0 h 89"/>
                  <a:gd name="T22" fmla="*/ 44 w 96"/>
                  <a:gd name="T23" fmla="*/ 42 h 89"/>
                  <a:gd name="T24" fmla="*/ 44 w 96"/>
                  <a:gd name="T25" fmla="*/ 48 h 89"/>
                  <a:gd name="T26" fmla="*/ 34 w 96"/>
                  <a:gd name="T27" fmla="*/ 58 h 89"/>
                  <a:gd name="T28" fmla="*/ 32 w 96"/>
                  <a:gd name="T29" fmla="*/ 56 h 89"/>
                  <a:gd name="T30" fmla="*/ 34 w 96"/>
                  <a:gd name="T31" fmla="*/ 54 h 89"/>
                  <a:gd name="T32" fmla="*/ 40 w 96"/>
                  <a:gd name="T33" fmla="*/ 48 h 89"/>
                  <a:gd name="T34" fmla="*/ 40 w 96"/>
                  <a:gd name="T35" fmla="*/ 44 h 89"/>
                  <a:gd name="T36" fmla="*/ 26 w 96"/>
                  <a:gd name="T37" fmla="*/ 44 h 89"/>
                  <a:gd name="T38" fmla="*/ 24 w 96"/>
                  <a:gd name="T39" fmla="*/ 42 h 89"/>
                  <a:gd name="T40" fmla="*/ 24 w 96"/>
                  <a:gd name="T41" fmla="*/ 26 h 89"/>
                  <a:gd name="T42" fmla="*/ 26 w 96"/>
                  <a:gd name="T43" fmla="*/ 24 h 89"/>
                  <a:gd name="T44" fmla="*/ 42 w 96"/>
                  <a:gd name="T45" fmla="*/ 24 h 89"/>
                  <a:gd name="T46" fmla="*/ 44 w 96"/>
                  <a:gd name="T47" fmla="*/ 26 h 89"/>
                  <a:gd name="T48" fmla="*/ 44 w 96"/>
                  <a:gd name="T49" fmla="*/ 42 h 89"/>
                  <a:gd name="T50" fmla="*/ 72 w 96"/>
                  <a:gd name="T51" fmla="*/ 42 h 89"/>
                  <a:gd name="T52" fmla="*/ 72 w 96"/>
                  <a:gd name="T53" fmla="*/ 48 h 89"/>
                  <a:gd name="T54" fmla="*/ 62 w 96"/>
                  <a:gd name="T55" fmla="*/ 58 h 89"/>
                  <a:gd name="T56" fmla="*/ 60 w 96"/>
                  <a:gd name="T57" fmla="*/ 56 h 89"/>
                  <a:gd name="T58" fmla="*/ 62 w 96"/>
                  <a:gd name="T59" fmla="*/ 54 h 89"/>
                  <a:gd name="T60" fmla="*/ 68 w 96"/>
                  <a:gd name="T61" fmla="*/ 48 h 89"/>
                  <a:gd name="T62" fmla="*/ 68 w 96"/>
                  <a:gd name="T63" fmla="*/ 44 h 89"/>
                  <a:gd name="T64" fmla="*/ 54 w 96"/>
                  <a:gd name="T65" fmla="*/ 44 h 89"/>
                  <a:gd name="T66" fmla="*/ 52 w 96"/>
                  <a:gd name="T67" fmla="*/ 42 h 89"/>
                  <a:gd name="T68" fmla="*/ 52 w 96"/>
                  <a:gd name="T69" fmla="*/ 26 h 89"/>
                  <a:gd name="T70" fmla="*/ 54 w 96"/>
                  <a:gd name="T71" fmla="*/ 24 h 89"/>
                  <a:gd name="T72" fmla="*/ 70 w 96"/>
                  <a:gd name="T73" fmla="*/ 24 h 89"/>
                  <a:gd name="T74" fmla="*/ 72 w 96"/>
                  <a:gd name="T75" fmla="*/ 26 h 89"/>
                  <a:gd name="T76" fmla="*/ 72 w 96"/>
                  <a:gd name="T77" fmla="*/ 4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89">
                    <a:moveTo>
                      <a:pt x="48" y="0"/>
                    </a:moveTo>
                    <a:cubicBezTo>
                      <a:pt x="22" y="0"/>
                      <a:pt x="0" y="18"/>
                      <a:pt x="0" y="40"/>
                    </a:cubicBezTo>
                    <a:cubicBezTo>
                      <a:pt x="0" y="50"/>
                      <a:pt x="5" y="60"/>
                      <a:pt x="13" y="67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3" y="87"/>
                      <a:pt x="3" y="88"/>
                      <a:pt x="4" y="89"/>
                    </a:cubicBezTo>
                    <a:cubicBezTo>
                      <a:pt x="4" y="89"/>
                      <a:pt x="5" y="89"/>
                      <a:pt x="5" y="89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32" y="77"/>
                      <a:pt x="32" y="77"/>
                      <a:pt x="32" y="77"/>
                    </a:cubicBezTo>
                    <a:cubicBezTo>
                      <a:pt x="37" y="79"/>
                      <a:pt x="43" y="80"/>
                      <a:pt x="48" y="80"/>
                    </a:cubicBezTo>
                    <a:cubicBezTo>
                      <a:pt x="74" y="80"/>
                      <a:pt x="96" y="62"/>
                      <a:pt x="96" y="40"/>
                    </a:cubicBezTo>
                    <a:cubicBezTo>
                      <a:pt x="96" y="18"/>
                      <a:pt x="74" y="0"/>
                      <a:pt x="48" y="0"/>
                    </a:cubicBezTo>
                    <a:close/>
                    <a:moveTo>
                      <a:pt x="44" y="42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54"/>
                      <a:pt x="39" y="58"/>
                      <a:pt x="34" y="58"/>
                    </a:cubicBezTo>
                    <a:cubicBezTo>
                      <a:pt x="33" y="58"/>
                      <a:pt x="32" y="58"/>
                      <a:pt x="32" y="56"/>
                    </a:cubicBezTo>
                    <a:cubicBezTo>
                      <a:pt x="32" y="55"/>
                      <a:pt x="33" y="54"/>
                      <a:pt x="34" y="54"/>
                    </a:cubicBezTo>
                    <a:cubicBezTo>
                      <a:pt x="37" y="54"/>
                      <a:pt x="40" y="52"/>
                      <a:pt x="40" y="48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5" y="44"/>
                      <a:pt x="24" y="44"/>
                      <a:pt x="24" y="42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5"/>
                      <a:pt x="25" y="24"/>
                      <a:pt x="26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4"/>
                      <a:pt x="44" y="25"/>
                      <a:pt x="44" y="26"/>
                    </a:cubicBezTo>
                    <a:lnTo>
                      <a:pt x="44" y="42"/>
                    </a:lnTo>
                    <a:close/>
                    <a:moveTo>
                      <a:pt x="72" y="42"/>
                    </a:moveTo>
                    <a:cubicBezTo>
                      <a:pt x="72" y="48"/>
                      <a:pt x="72" y="48"/>
                      <a:pt x="72" y="48"/>
                    </a:cubicBezTo>
                    <a:cubicBezTo>
                      <a:pt x="72" y="54"/>
                      <a:pt x="67" y="58"/>
                      <a:pt x="62" y="58"/>
                    </a:cubicBezTo>
                    <a:cubicBezTo>
                      <a:pt x="61" y="58"/>
                      <a:pt x="60" y="58"/>
                      <a:pt x="60" y="56"/>
                    </a:cubicBezTo>
                    <a:cubicBezTo>
                      <a:pt x="60" y="55"/>
                      <a:pt x="61" y="54"/>
                      <a:pt x="62" y="54"/>
                    </a:cubicBezTo>
                    <a:cubicBezTo>
                      <a:pt x="65" y="54"/>
                      <a:pt x="68" y="52"/>
                      <a:pt x="68" y="48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3" y="44"/>
                      <a:pt x="52" y="44"/>
                      <a:pt x="52" y="42"/>
                    </a:cubicBezTo>
                    <a:cubicBezTo>
                      <a:pt x="52" y="26"/>
                      <a:pt x="52" y="26"/>
                      <a:pt x="52" y="26"/>
                    </a:cubicBezTo>
                    <a:cubicBezTo>
                      <a:pt x="52" y="25"/>
                      <a:pt x="53" y="24"/>
                      <a:pt x="54" y="24"/>
                    </a:cubicBezTo>
                    <a:cubicBezTo>
                      <a:pt x="70" y="24"/>
                      <a:pt x="70" y="24"/>
                      <a:pt x="70" y="24"/>
                    </a:cubicBezTo>
                    <a:cubicBezTo>
                      <a:pt x="71" y="24"/>
                      <a:pt x="72" y="25"/>
                      <a:pt x="72" y="26"/>
                    </a:cubicBezTo>
                    <a:lnTo>
                      <a:pt x="72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688FC497-6D1B-4F10-B26A-73B69F63EE8E}"/>
              </a:ext>
            </a:extLst>
          </p:cNvPr>
          <p:cNvGrpSpPr/>
          <p:nvPr/>
        </p:nvGrpSpPr>
        <p:grpSpPr>
          <a:xfrm>
            <a:off x="1828272" y="4852317"/>
            <a:ext cx="386249" cy="386249"/>
            <a:chOff x="2252162" y="2653439"/>
            <a:chExt cx="422458" cy="422458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1F9281B6-5D93-4C8A-A373-B32CAB4BF5C4}"/>
                </a:ext>
              </a:extLst>
            </p:cNvPr>
            <p:cNvSpPr/>
            <p:nvPr/>
          </p:nvSpPr>
          <p:spPr>
            <a:xfrm>
              <a:off x="2252162" y="2653439"/>
              <a:ext cx="422458" cy="422458"/>
            </a:xfrm>
            <a:prstGeom prst="rect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xmlns="" id="{8290EFD5-1877-4FB9-9BFE-85140D98C35D}"/>
                </a:ext>
              </a:extLst>
            </p:cNvPr>
            <p:cNvGrpSpPr/>
            <p:nvPr/>
          </p:nvGrpSpPr>
          <p:grpSpPr>
            <a:xfrm>
              <a:off x="2336885" y="2747636"/>
              <a:ext cx="253012" cy="234065"/>
              <a:chOff x="4113213" y="3621088"/>
              <a:chExt cx="360363" cy="333375"/>
            </a:xfrm>
            <a:solidFill>
              <a:schemeClr val="bg1"/>
            </a:solidFill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xmlns="" id="{B433B396-FC7F-4F74-9385-3F6F5AA5B2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7988" y="3725863"/>
                <a:ext cx="44450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xmlns="" id="{4879A527-1F1A-4AD1-980B-9561CAC7A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22763" y="3725863"/>
                <a:ext cx="46038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56" name="Freeform 66">
                <a:extLst>
                  <a:ext uri="{FF2B5EF4-FFF2-40B4-BE49-F238E27FC236}">
                    <a16:creationId xmlns:a16="http://schemas.microsoft.com/office/drawing/2014/main" xmlns="" id="{8EEF35F5-23FC-432C-BDC0-C9EC43769D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3213" y="3621088"/>
                <a:ext cx="360363" cy="333375"/>
              </a:xfrm>
              <a:custGeom>
                <a:avLst/>
                <a:gdLst>
                  <a:gd name="T0" fmla="*/ 48 w 96"/>
                  <a:gd name="T1" fmla="*/ 0 h 89"/>
                  <a:gd name="T2" fmla="*/ 0 w 96"/>
                  <a:gd name="T3" fmla="*/ 40 h 89"/>
                  <a:gd name="T4" fmla="*/ 13 w 96"/>
                  <a:gd name="T5" fmla="*/ 67 h 89"/>
                  <a:gd name="T6" fmla="*/ 4 w 96"/>
                  <a:gd name="T7" fmla="*/ 87 h 89"/>
                  <a:gd name="T8" fmla="*/ 4 w 96"/>
                  <a:gd name="T9" fmla="*/ 89 h 89"/>
                  <a:gd name="T10" fmla="*/ 5 w 96"/>
                  <a:gd name="T11" fmla="*/ 89 h 89"/>
                  <a:gd name="T12" fmla="*/ 6 w 96"/>
                  <a:gd name="T13" fmla="*/ 89 h 89"/>
                  <a:gd name="T14" fmla="*/ 32 w 96"/>
                  <a:gd name="T15" fmla="*/ 77 h 89"/>
                  <a:gd name="T16" fmla="*/ 48 w 96"/>
                  <a:gd name="T17" fmla="*/ 80 h 89"/>
                  <a:gd name="T18" fmla="*/ 96 w 96"/>
                  <a:gd name="T19" fmla="*/ 40 h 89"/>
                  <a:gd name="T20" fmla="*/ 48 w 96"/>
                  <a:gd name="T21" fmla="*/ 0 h 89"/>
                  <a:gd name="T22" fmla="*/ 44 w 96"/>
                  <a:gd name="T23" fmla="*/ 42 h 89"/>
                  <a:gd name="T24" fmla="*/ 44 w 96"/>
                  <a:gd name="T25" fmla="*/ 48 h 89"/>
                  <a:gd name="T26" fmla="*/ 34 w 96"/>
                  <a:gd name="T27" fmla="*/ 58 h 89"/>
                  <a:gd name="T28" fmla="*/ 32 w 96"/>
                  <a:gd name="T29" fmla="*/ 56 h 89"/>
                  <a:gd name="T30" fmla="*/ 34 w 96"/>
                  <a:gd name="T31" fmla="*/ 54 h 89"/>
                  <a:gd name="T32" fmla="*/ 40 w 96"/>
                  <a:gd name="T33" fmla="*/ 48 h 89"/>
                  <a:gd name="T34" fmla="*/ 40 w 96"/>
                  <a:gd name="T35" fmla="*/ 44 h 89"/>
                  <a:gd name="T36" fmla="*/ 26 w 96"/>
                  <a:gd name="T37" fmla="*/ 44 h 89"/>
                  <a:gd name="T38" fmla="*/ 24 w 96"/>
                  <a:gd name="T39" fmla="*/ 42 h 89"/>
                  <a:gd name="T40" fmla="*/ 24 w 96"/>
                  <a:gd name="T41" fmla="*/ 26 h 89"/>
                  <a:gd name="T42" fmla="*/ 26 w 96"/>
                  <a:gd name="T43" fmla="*/ 24 h 89"/>
                  <a:gd name="T44" fmla="*/ 42 w 96"/>
                  <a:gd name="T45" fmla="*/ 24 h 89"/>
                  <a:gd name="T46" fmla="*/ 44 w 96"/>
                  <a:gd name="T47" fmla="*/ 26 h 89"/>
                  <a:gd name="T48" fmla="*/ 44 w 96"/>
                  <a:gd name="T49" fmla="*/ 42 h 89"/>
                  <a:gd name="T50" fmla="*/ 72 w 96"/>
                  <a:gd name="T51" fmla="*/ 42 h 89"/>
                  <a:gd name="T52" fmla="*/ 72 w 96"/>
                  <a:gd name="T53" fmla="*/ 48 h 89"/>
                  <a:gd name="T54" fmla="*/ 62 w 96"/>
                  <a:gd name="T55" fmla="*/ 58 h 89"/>
                  <a:gd name="T56" fmla="*/ 60 w 96"/>
                  <a:gd name="T57" fmla="*/ 56 h 89"/>
                  <a:gd name="T58" fmla="*/ 62 w 96"/>
                  <a:gd name="T59" fmla="*/ 54 h 89"/>
                  <a:gd name="T60" fmla="*/ 68 w 96"/>
                  <a:gd name="T61" fmla="*/ 48 h 89"/>
                  <a:gd name="T62" fmla="*/ 68 w 96"/>
                  <a:gd name="T63" fmla="*/ 44 h 89"/>
                  <a:gd name="T64" fmla="*/ 54 w 96"/>
                  <a:gd name="T65" fmla="*/ 44 h 89"/>
                  <a:gd name="T66" fmla="*/ 52 w 96"/>
                  <a:gd name="T67" fmla="*/ 42 h 89"/>
                  <a:gd name="T68" fmla="*/ 52 w 96"/>
                  <a:gd name="T69" fmla="*/ 26 h 89"/>
                  <a:gd name="T70" fmla="*/ 54 w 96"/>
                  <a:gd name="T71" fmla="*/ 24 h 89"/>
                  <a:gd name="T72" fmla="*/ 70 w 96"/>
                  <a:gd name="T73" fmla="*/ 24 h 89"/>
                  <a:gd name="T74" fmla="*/ 72 w 96"/>
                  <a:gd name="T75" fmla="*/ 26 h 89"/>
                  <a:gd name="T76" fmla="*/ 72 w 96"/>
                  <a:gd name="T77" fmla="*/ 4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89">
                    <a:moveTo>
                      <a:pt x="48" y="0"/>
                    </a:moveTo>
                    <a:cubicBezTo>
                      <a:pt x="22" y="0"/>
                      <a:pt x="0" y="18"/>
                      <a:pt x="0" y="40"/>
                    </a:cubicBezTo>
                    <a:cubicBezTo>
                      <a:pt x="0" y="50"/>
                      <a:pt x="5" y="60"/>
                      <a:pt x="13" y="67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3" y="87"/>
                      <a:pt x="3" y="88"/>
                      <a:pt x="4" y="89"/>
                    </a:cubicBezTo>
                    <a:cubicBezTo>
                      <a:pt x="4" y="89"/>
                      <a:pt x="5" y="89"/>
                      <a:pt x="5" y="89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32" y="77"/>
                      <a:pt x="32" y="77"/>
                      <a:pt x="32" y="77"/>
                    </a:cubicBezTo>
                    <a:cubicBezTo>
                      <a:pt x="37" y="79"/>
                      <a:pt x="43" y="80"/>
                      <a:pt x="48" y="80"/>
                    </a:cubicBezTo>
                    <a:cubicBezTo>
                      <a:pt x="74" y="80"/>
                      <a:pt x="96" y="62"/>
                      <a:pt x="96" y="40"/>
                    </a:cubicBezTo>
                    <a:cubicBezTo>
                      <a:pt x="96" y="18"/>
                      <a:pt x="74" y="0"/>
                      <a:pt x="48" y="0"/>
                    </a:cubicBezTo>
                    <a:close/>
                    <a:moveTo>
                      <a:pt x="44" y="42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54"/>
                      <a:pt x="39" y="58"/>
                      <a:pt x="34" y="58"/>
                    </a:cubicBezTo>
                    <a:cubicBezTo>
                      <a:pt x="33" y="58"/>
                      <a:pt x="32" y="58"/>
                      <a:pt x="32" y="56"/>
                    </a:cubicBezTo>
                    <a:cubicBezTo>
                      <a:pt x="32" y="55"/>
                      <a:pt x="33" y="54"/>
                      <a:pt x="34" y="54"/>
                    </a:cubicBezTo>
                    <a:cubicBezTo>
                      <a:pt x="37" y="54"/>
                      <a:pt x="40" y="52"/>
                      <a:pt x="40" y="48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5" y="44"/>
                      <a:pt x="24" y="44"/>
                      <a:pt x="24" y="42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5"/>
                      <a:pt x="25" y="24"/>
                      <a:pt x="26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4"/>
                      <a:pt x="44" y="25"/>
                      <a:pt x="44" y="26"/>
                    </a:cubicBezTo>
                    <a:lnTo>
                      <a:pt x="44" y="42"/>
                    </a:lnTo>
                    <a:close/>
                    <a:moveTo>
                      <a:pt x="72" y="42"/>
                    </a:moveTo>
                    <a:cubicBezTo>
                      <a:pt x="72" y="48"/>
                      <a:pt x="72" y="48"/>
                      <a:pt x="72" y="48"/>
                    </a:cubicBezTo>
                    <a:cubicBezTo>
                      <a:pt x="72" y="54"/>
                      <a:pt x="67" y="58"/>
                      <a:pt x="62" y="58"/>
                    </a:cubicBezTo>
                    <a:cubicBezTo>
                      <a:pt x="61" y="58"/>
                      <a:pt x="60" y="58"/>
                      <a:pt x="60" y="56"/>
                    </a:cubicBezTo>
                    <a:cubicBezTo>
                      <a:pt x="60" y="55"/>
                      <a:pt x="61" y="54"/>
                      <a:pt x="62" y="54"/>
                    </a:cubicBezTo>
                    <a:cubicBezTo>
                      <a:pt x="65" y="54"/>
                      <a:pt x="68" y="52"/>
                      <a:pt x="68" y="48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3" y="44"/>
                      <a:pt x="52" y="44"/>
                      <a:pt x="52" y="42"/>
                    </a:cubicBezTo>
                    <a:cubicBezTo>
                      <a:pt x="52" y="26"/>
                      <a:pt x="52" y="26"/>
                      <a:pt x="52" y="26"/>
                    </a:cubicBezTo>
                    <a:cubicBezTo>
                      <a:pt x="52" y="25"/>
                      <a:pt x="53" y="24"/>
                      <a:pt x="54" y="24"/>
                    </a:cubicBezTo>
                    <a:cubicBezTo>
                      <a:pt x="70" y="24"/>
                      <a:pt x="70" y="24"/>
                      <a:pt x="70" y="24"/>
                    </a:cubicBezTo>
                    <a:cubicBezTo>
                      <a:pt x="71" y="24"/>
                      <a:pt x="72" y="25"/>
                      <a:pt x="72" y="26"/>
                    </a:cubicBezTo>
                    <a:lnTo>
                      <a:pt x="72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82E96ACA-CA71-4E17-8C19-98DA04E4806B}"/>
              </a:ext>
            </a:extLst>
          </p:cNvPr>
          <p:cNvGrpSpPr/>
          <p:nvPr/>
        </p:nvGrpSpPr>
        <p:grpSpPr>
          <a:xfrm>
            <a:off x="7388262" y="2453919"/>
            <a:ext cx="386249" cy="386249"/>
            <a:chOff x="2252162" y="2653439"/>
            <a:chExt cx="422458" cy="422458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080EBCF5-4478-4C3E-AFAB-D7634D8A14CD}"/>
                </a:ext>
              </a:extLst>
            </p:cNvPr>
            <p:cNvSpPr/>
            <p:nvPr/>
          </p:nvSpPr>
          <p:spPr>
            <a:xfrm>
              <a:off x="2252162" y="2653439"/>
              <a:ext cx="422458" cy="422458"/>
            </a:xfrm>
            <a:prstGeom prst="rect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xmlns="" id="{5931CAA5-7450-46E1-95C5-4B285C9507BA}"/>
                </a:ext>
              </a:extLst>
            </p:cNvPr>
            <p:cNvGrpSpPr/>
            <p:nvPr/>
          </p:nvGrpSpPr>
          <p:grpSpPr>
            <a:xfrm>
              <a:off x="2336885" y="2747636"/>
              <a:ext cx="253012" cy="234065"/>
              <a:chOff x="4113213" y="3621088"/>
              <a:chExt cx="360363" cy="333375"/>
            </a:xfrm>
            <a:solidFill>
              <a:schemeClr val="bg1"/>
            </a:solidFill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xmlns="" id="{8F0F5B6B-6273-4E62-A01C-FBC7883F61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7988" y="3725863"/>
                <a:ext cx="44450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xmlns="" id="{FE16AA8D-40DB-4F44-BBD5-9C62CA272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22763" y="3725863"/>
                <a:ext cx="46038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2" name="Freeform 66">
                <a:extLst>
                  <a:ext uri="{FF2B5EF4-FFF2-40B4-BE49-F238E27FC236}">
                    <a16:creationId xmlns:a16="http://schemas.microsoft.com/office/drawing/2014/main" xmlns="" id="{8BBD882A-38BD-40B1-893D-50B24EF646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3213" y="3621088"/>
                <a:ext cx="360363" cy="333375"/>
              </a:xfrm>
              <a:custGeom>
                <a:avLst/>
                <a:gdLst>
                  <a:gd name="T0" fmla="*/ 48 w 96"/>
                  <a:gd name="T1" fmla="*/ 0 h 89"/>
                  <a:gd name="T2" fmla="*/ 0 w 96"/>
                  <a:gd name="T3" fmla="*/ 40 h 89"/>
                  <a:gd name="T4" fmla="*/ 13 w 96"/>
                  <a:gd name="T5" fmla="*/ 67 h 89"/>
                  <a:gd name="T6" fmla="*/ 4 w 96"/>
                  <a:gd name="T7" fmla="*/ 87 h 89"/>
                  <a:gd name="T8" fmla="*/ 4 w 96"/>
                  <a:gd name="T9" fmla="*/ 89 h 89"/>
                  <a:gd name="T10" fmla="*/ 5 w 96"/>
                  <a:gd name="T11" fmla="*/ 89 h 89"/>
                  <a:gd name="T12" fmla="*/ 6 w 96"/>
                  <a:gd name="T13" fmla="*/ 89 h 89"/>
                  <a:gd name="T14" fmla="*/ 32 w 96"/>
                  <a:gd name="T15" fmla="*/ 77 h 89"/>
                  <a:gd name="T16" fmla="*/ 48 w 96"/>
                  <a:gd name="T17" fmla="*/ 80 h 89"/>
                  <a:gd name="T18" fmla="*/ 96 w 96"/>
                  <a:gd name="T19" fmla="*/ 40 h 89"/>
                  <a:gd name="T20" fmla="*/ 48 w 96"/>
                  <a:gd name="T21" fmla="*/ 0 h 89"/>
                  <a:gd name="T22" fmla="*/ 44 w 96"/>
                  <a:gd name="T23" fmla="*/ 42 h 89"/>
                  <a:gd name="T24" fmla="*/ 44 w 96"/>
                  <a:gd name="T25" fmla="*/ 48 h 89"/>
                  <a:gd name="T26" fmla="*/ 34 w 96"/>
                  <a:gd name="T27" fmla="*/ 58 h 89"/>
                  <a:gd name="T28" fmla="*/ 32 w 96"/>
                  <a:gd name="T29" fmla="*/ 56 h 89"/>
                  <a:gd name="T30" fmla="*/ 34 w 96"/>
                  <a:gd name="T31" fmla="*/ 54 h 89"/>
                  <a:gd name="T32" fmla="*/ 40 w 96"/>
                  <a:gd name="T33" fmla="*/ 48 h 89"/>
                  <a:gd name="T34" fmla="*/ 40 w 96"/>
                  <a:gd name="T35" fmla="*/ 44 h 89"/>
                  <a:gd name="T36" fmla="*/ 26 w 96"/>
                  <a:gd name="T37" fmla="*/ 44 h 89"/>
                  <a:gd name="T38" fmla="*/ 24 w 96"/>
                  <a:gd name="T39" fmla="*/ 42 h 89"/>
                  <a:gd name="T40" fmla="*/ 24 w 96"/>
                  <a:gd name="T41" fmla="*/ 26 h 89"/>
                  <a:gd name="T42" fmla="*/ 26 w 96"/>
                  <a:gd name="T43" fmla="*/ 24 h 89"/>
                  <a:gd name="T44" fmla="*/ 42 w 96"/>
                  <a:gd name="T45" fmla="*/ 24 h 89"/>
                  <a:gd name="T46" fmla="*/ 44 w 96"/>
                  <a:gd name="T47" fmla="*/ 26 h 89"/>
                  <a:gd name="T48" fmla="*/ 44 w 96"/>
                  <a:gd name="T49" fmla="*/ 42 h 89"/>
                  <a:gd name="T50" fmla="*/ 72 w 96"/>
                  <a:gd name="T51" fmla="*/ 42 h 89"/>
                  <a:gd name="T52" fmla="*/ 72 w 96"/>
                  <a:gd name="T53" fmla="*/ 48 h 89"/>
                  <a:gd name="T54" fmla="*/ 62 w 96"/>
                  <a:gd name="T55" fmla="*/ 58 h 89"/>
                  <a:gd name="T56" fmla="*/ 60 w 96"/>
                  <a:gd name="T57" fmla="*/ 56 h 89"/>
                  <a:gd name="T58" fmla="*/ 62 w 96"/>
                  <a:gd name="T59" fmla="*/ 54 h 89"/>
                  <a:gd name="T60" fmla="*/ 68 w 96"/>
                  <a:gd name="T61" fmla="*/ 48 h 89"/>
                  <a:gd name="T62" fmla="*/ 68 w 96"/>
                  <a:gd name="T63" fmla="*/ 44 h 89"/>
                  <a:gd name="T64" fmla="*/ 54 w 96"/>
                  <a:gd name="T65" fmla="*/ 44 h 89"/>
                  <a:gd name="T66" fmla="*/ 52 w 96"/>
                  <a:gd name="T67" fmla="*/ 42 h 89"/>
                  <a:gd name="T68" fmla="*/ 52 w 96"/>
                  <a:gd name="T69" fmla="*/ 26 h 89"/>
                  <a:gd name="T70" fmla="*/ 54 w 96"/>
                  <a:gd name="T71" fmla="*/ 24 h 89"/>
                  <a:gd name="T72" fmla="*/ 70 w 96"/>
                  <a:gd name="T73" fmla="*/ 24 h 89"/>
                  <a:gd name="T74" fmla="*/ 72 w 96"/>
                  <a:gd name="T75" fmla="*/ 26 h 89"/>
                  <a:gd name="T76" fmla="*/ 72 w 96"/>
                  <a:gd name="T77" fmla="*/ 4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89">
                    <a:moveTo>
                      <a:pt x="48" y="0"/>
                    </a:moveTo>
                    <a:cubicBezTo>
                      <a:pt x="22" y="0"/>
                      <a:pt x="0" y="18"/>
                      <a:pt x="0" y="40"/>
                    </a:cubicBezTo>
                    <a:cubicBezTo>
                      <a:pt x="0" y="50"/>
                      <a:pt x="5" y="60"/>
                      <a:pt x="13" y="67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3" y="87"/>
                      <a:pt x="3" y="88"/>
                      <a:pt x="4" y="89"/>
                    </a:cubicBezTo>
                    <a:cubicBezTo>
                      <a:pt x="4" y="89"/>
                      <a:pt x="5" y="89"/>
                      <a:pt x="5" y="89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32" y="77"/>
                      <a:pt x="32" y="77"/>
                      <a:pt x="32" y="77"/>
                    </a:cubicBezTo>
                    <a:cubicBezTo>
                      <a:pt x="37" y="79"/>
                      <a:pt x="43" y="80"/>
                      <a:pt x="48" y="80"/>
                    </a:cubicBezTo>
                    <a:cubicBezTo>
                      <a:pt x="74" y="80"/>
                      <a:pt x="96" y="62"/>
                      <a:pt x="96" y="40"/>
                    </a:cubicBezTo>
                    <a:cubicBezTo>
                      <a:pt x="96" y="18"/>
                      <a:pt x="74" y="0"/>
                      <a:pt x="48" y="0"/>
                    </a:cubicBezTo>
                    <a:close/>
                    <a:moveTo>
                      <a:pt x="44" y="42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54"/>
                      <a:pt x="39" y="58"/>
                      <a:pt x="34" y="58"/>
                    </a:cubicBezTo>
                    <a:cubicBezTo>
                      <a:pt x="33" y="58"/>
                      <a:pt x="32" y="58"/>
                      <a:pt x="32" y="56"/>
                    </a:cubicBezTo>
                    <a:cubicBezTo>
                      <a:pt x="32" y="55"/>
                      <a:pt x="33" y="54"/>
                      <a:pt x="34" y="54"/>
                    </a:cubicBezTo>
                    <a:cubicBezTo>
                      <a:pt x="37" y="54"/>
                      <a:pt x="40" y="52"/>
                      <a:pt x="40" y="48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5" y="44"/>
                      <a:pt x="24" y="44"/>
                      <a:pt x="24" y="42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5"/>
                      <a:pt x="25" y="24"/>
                      <a:pt x="26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4"/>
                      <a:pt x="44" y="25"/>
                      <a:pt x="44" y="26"/>
                    </a:cubicBezTo>
                    <a:lnTo>
                      <a:pt x="44" y="42"/>
                    </a:lnTo>
                    <a:close/>
                    <a:moveTo>
                      <a:pt x="72" y="42"/>
                    </a:moveTo>
                    <a:cubicBezTo>
                      <a:pt x="72" y="48"/>
                      <a:pt x="72" y="48"/>
                      <a:pt x="72" y="48"/>
                    </a:cubicBezTo>
                    <a:cubicBezTo>
                      <a:pt x="72" y="54"/>
                      <a:pt x="67" y="58"/>
                      <a:pt x="62" y="58"/>
                    </a:cubicBezTo>
                    <a:cubicBezTo>
                      <a:pt x="61" y="58"/>
                      <a:pt x="60" y="58"/>
                      <a:pt x="60" y="56"/>
                    </a:cubicBezTo>
                    <a:cubicBezTo>
                      <a:pt x="60" y="55"/>
                      <a:pt x="61" y="54"/>
                      <a:pt x="62" y="54"/>
                    </a:cubicBezTo>
                    <a:cubicBezTo>
                      <a:pt x="65" y="54"/>
                      <a:pt x="68" y="52"/>
                      <a:pt x="68" y="48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3" y="44"/>
                      <a:pt x="52" y="44"/>
                      <a:pt x="52" y="42"/>
                    </a:cubicBezTo>
                    <a:cubicBezTo>
                      <a:pt x="52" y="26"/>
                      <a:pt x="52" y="26"/>
                      <a:pt x="52" y="26"/>
                    </a:cubicBezTo>
                    <a:cubicBezTo>
                      <a:pt x="52" y="25"/>
                      <a:pt x="53" y="24"/>
                      <a:pt x="54" y="24"/>
                    </a:cubicBezTo>
                    <a:cubicBezTo>
                      <a:pt x="70" y="24"/>
                      <a:pt x="70" y="24"/>
                      <a:pt x="70" y="24"/>
                    </a:cubicBezTo>
                    <a:cubicBezTo>
                      <a:pt x="71" y="24"/>
                      <a:pt x="72" y="25"/>
                      <a:pt x="72" y="26"/>
                    </a:cubicBezTo>
                    <a:lnTo>
                      <a:pt x="72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FB37DCC4-3D87-4287-9B43-C49F9382DC23}"/>
              </a:ext>
            </a:extLst>
          </p:cNvPr>
          <p:cNvGrpSpPr/>
          <p:nvPr/>
        </p:nvGrpSpPr>
        <p:grpSpPr>
          <a:xfrm>
            <a:off x="7388262" y="4852317"/>
            <a:ext cx="386249" cy="386249"/>
            <a:chOff x="2252162" y="2653439"/>
            <a:chExt cx="422458" cy="422458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xmlns="" id="{D62A1CD1-6800-4FAC-B1FC-2D5324187273}"/>
                </a:ext>
              </a:extLst>
            </p:cNvPr>
            <p:cNvSpPr/>
            <p:nvPr/>
          </p:nvSpPr>
          <p:spPr>
            <a:xfrm>
              <a:off x="2252162" y="2653439"/>
              <a:ext cx="422458" cy="422458"/>
            </a:xfrm>
            <a:prstGeom prst="rect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xmlns="" id="{EAF2D6EC-7BD9-49CB-846F-F5C1255A7E15}"/>
                </a:ext>
              </a:extLst>
            </p:cNvPr>
            <p:cNvGrpSpPr/>
            <p:nvPr/>
          </p:nvGrpSpPr>
          <p:grpSpPr>
            <a:xfrm>
              <a:off x="2336885" y="2747636"/>
              <a:ext cx="253012" cy="234065"/>
              <a:chOff x="4113213" y="3621088"/>
              <a:chExt cx="360363" cy="333375"/>
            </a:xfrm>
            <a:solidFill>
              <a:schemeClr val="bg1"/>
            </a:solidFill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xmlns="" id="{EB67CC90-9604-410B-9503-8F75567C94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7988" y="3725863"/>
                <a:ext cx="44450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xmlns="" id="{8C084C06-45C8-4B09-9ACC-C5559165B4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22763" y="3725863"/>
                <a:ext cx="46038" cy="444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68" name="Freeform 66">
                <a:extLst>
                  <a:ext uri="{FF2B5EF4-FFF2-40B4-BE49-F238E27FC236}">
                    <a16:creationId xmlns:a16="http://schemas.microsoft.com/office/drawing/2014/main" xmlns="" id="{E1806B99-C78D-449E-BC7C-0A517307A5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13213" y="3621088"/>
                <a:ext cx="360363" cy="333375"/>
              </a:xfrm>
              <a:custGeom>
                <a:avLst/>
                <a:gdLst>
                  <a:gd name="T0" fmla="*/ 48 w 96"/>
                  <a:gd name="T1" fmla="*/ 0 h 89"/>
                  <a:gd name="T2" fmla="*/ 0 w 96"/>
                  <a:gd name="T3" fmla="*/ 40 h 89"/>
                  <a:gd name="T4" fmla="*/ 13 w 96"/>
                  <a:gd name="T5" fmla="*/ 67 h 89"/>
                  <a:gd name="T6" fmla="*/ 4 w 96"/>
                  <a:gd name="T7" fmla="*/ 87 h 89"/>
                  <a:gd name="T8" fmla="*/ 4 w 96"/>
                  <a:gd name="T9" fmla="*/ 89 h 89"/>
                  <a:gd name="T10" fmla="*/ 5 w 96"/>
                  <a:gd name="T11" fmla="*/ 89 h 89"/>
                  <a:gd name="T12" fmla="*/ 6 w 96"/>
                  <a:gd name="T13" fmla="*/ 89 h 89"/>
                  <a:gd name="T14" fmla="*/ 32 w 96"/>
                  <a:gd name="T15" fmla="*/ 77 h 89"/>
                  <a:gd name="T16" fmla="*/ 48 w 96"/>
                  <a:gd name="T17" fmla="*/ 80 h 89"/>
                  <a:gd name="T18" fmla="*/ 96 w 96"/>
                  <a:gd name="T19" fmla="*/ 40 h 89"/>
                  <a:gd name="T20" fmla="*/ 48 w 96"/>
                  <a:gd name="T21" fmla="*/ 0 h 89"/>
                  <a:gd name="T22" fmla="*/ 44 w 96"/>
                  <a:gd name="T23" fmla="*/ 42 h 89"/>
                  <a:gd name="T24" fmla="*/ 44 w 96"/>
                  <a:gd name="T25" fmla="*/ 48 h 89"/>
                  <a:gd name="T26" fmla="*/ 34 w 96"/>
                  <a:gd name="T27" fmla="*/ 58 h 89"/>
                  <a:gd name="T28" fmla="*/ 32 w 96"/>
                  <a:gd name="T29" fmla="*/ 56 h 89"/>
                  <a:gd name="T30" fmla="*/ 34 w 96"/>
                  <a:gd name="T31" fmla="*/ 54 h 89"/>
                  <a:gd name="T32" fmla="*/ 40 w 96"/>
                  <a:gd name="T33" fmla="*/ 48 h 89"/>
                  <a:gd name="T34" fmla="*/ 40 w 96"/>
                  <a:gd name="T35" fmla="*/ 44 h 89"/>
                  <a:gd name="T36" fmla="*/ 26 w 96"/>
                  <a:gd name="T37" fmla="*/ 44 h 89"/>
                  <a:gd name="T38" fmla="*/ 24 w 96"/>
                  <a:gd name="T39" fmla="*/ 42 h 89"/>
                  <a:gd name="T40" fmla="*/ 24 w 96"/>
                  <a:gd name="T41" fmla="*/ 26 h 89"/>
                  <a:gd name="T42" fmla="*/ 26 w 96"/>
                  <a:gd name="T43" fmla="*/ 24 h 89"/>
                  <a:gd name="T44" fmla="*/ 42 w 96"/>
                  <a:gd name="T45" fmla="*/ 24 h 89"/>
                  <a:gd name="T46" fmla="*/ 44 w 96"/>
                  <a:gd name="T47" fmla="*/ 26 h 89"/>
                  <a:gd name="T48" fmla="*/ 44 w 96"/>
                  <a:gd name="T49" fmla="*/ 42 h 89"/>
                  <a:gd name="T50" fmla="*/ 72 w 96"/>
                  <a:gd name="T51" fmla="*/ 42 h 89"/>
                  <a:gd name="T52" fmla="*/ 72 w 96"/>
                  <a:gd name="T53" fmla="*/ 48 h 89"/>
                  <a:gd name="T54" fmla="*/ 62 w 96"/>
                  <a:gd name="T55" fmla="*/ 58 h 89"/>
                  <a:gd name="T56" fmla="*/ 60 w 96"/>
                  <a:gd name="T57" fmla="*/ 56 h 89"/>
                  <a:gd name="T58" fmla="*/ 62 w 96"/>
                  <a:gd name="T59" fmla="*/ 54 h 89"/>
                  <a:gd name="T60" fmla="*/ 68 w 96"/>
                  <a:gd name="T61" fmla="*/ 48 h 89"/>
                  <a:gd name="T62" fmla="*/ 68 w 96"/>
                  <a:gd name="T63" fmla="*/ 44 h 89"/>
                  <a:gd name="T64" fmla="*/ 54 w 96"/>
                  <a:gd name="T65" fmla="*/ 44 h 89"/>
                  <a:gd name="T66" fmla="*/ 52 w 96"/>
                  <a:gd name="T67" fmla="*/ 42 h 89"/>
                  <a:gd name="T68" fmla="*/ 52 w 96"/>
                  <a:gd name="T69" fmla="*/ 26 h 89"/>
                  <a:gd name="T70" fmla="*/ 54 w 96"/>
                  <a:gd name="T71" fmla="*/ 24 h 89"/>
                  <a:gd name="T72" fmla="*/ 70 w 96"/>
                  <a:gd name="T73" fmla="*/ 24 h 89"/>
                  <a:gd name="T74" fmla="*/ 72 w 96"/>
                  <a:gd name="T75" fmla="*/ 26 h 89"/>
                  <a:gd name="T76" fmla="*/ 72 w 96"/>
                  <a:gd name="T77" fmla="*/ 4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6" h="89">
                    <a:moveTo>
                      <a:pt x="48" y="0"/>
                    </a:moveTo>
                    <a:cubicBezTo>
                      <a:pt x="22" y="0"/>
                      <a:pt x="0" y="18"/>
                      <a:pt x="0" y="40"/>
                    </a:cubicBezTo>
                    <a:cubicBezTo>
                      <a:pt x="0" y="50"/>
                      <a:pt x="5" y="60"/>
                      <a:pt x="13" y="67"/>
                    </a:cubicBezTo>
                    <a:cubicBezTo>
                      <a:pt x="4" y="87"/>
                      <a:pt x="4" y="87"/>
                      <a:pt x="4" y="87"/>
                    </a:cubicBezTo>
                    <a:cubicBezTo>
                      <a:pt x="3" y="87"/>
                      <a:pt x="3" y="88"/>
                      <a:pt x="4" y="89"/>
                    </a:cubicBezTo>
                    <a:cubicBezTo>
                      <a:pt x="4" y="89"/>
                      <a:pt x="5" y="89"/>
                      <a:pt x="5" y="89"/>
                    </a:cubicBezTo>
                    <a:cubicBezTo>
                      <a:pt x="6" y="89"/>
                      <a:pt x="6" y="89"/>
                      <a:pt x="6" y="89"/>
                    </a:cubicBezTo>
                    <a:cubicBezTo>
                      <a:pt x="32" y="77"/>
                      <a:pt x="32" y="77"/>
                      <a:pt x="32" y="77"/>
                    </a:cubicBezTo>
                    <a:cubicBezTo>
                      <a:pt x="37" y="79"/>
                      <a:pt x="43" y="80"/>
                      <a:pt x="48" y="80"/>
                    </a:cubicBezTo>
                    <a:cubicBezTo>
                      <a:pt x="74" y="80"/>
                      <a:pt x="96" y="62"/>
                      <a:pt x="96" y="40"/>
                    </a:cubicBezTo>
                    <a:cubicBezTo>
                      <a:pt x="96" y="18"/>
                      <a:pt x="74" y="0"/>
                      <a:pt x="48" y="0"/>
                    </a:cubicBezTo>
                    <a:close/>
                    <a:moveTo>
                      <a:pt x="44" y="42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54"/>
                      <a:pt x="39" y="58"/>
                      <a:pt x="34" y="58"/>
                    </a:cubicBezTo>
                    <a:cubicBezTo>
                      <a:pt x="33" y="58"/>
                      <a:pt x="32" y="58"/>
                      <a:pt x="32" y="56"/>
                    </a:cubicBezTo>
                    <a:cubicBezTo>
                      <a:pt x="32" y="55"/>
                      <a:pt x="33" y="54"/>
                      <a:pt x="34" y="54"/>
                    </a:cubicBezTo>
                    <a:cubicBezTo>
                      <a:pt x="37" y="54"/>
                      <a:pt x="40" y="52"/>
                      <a:pt x="40" y="48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5" y="44"/>
                      <a:pt x="24" y="44"/>
                      <a:pt x="24" y="42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4" y="25"/>
                      <a:pt x="25" y="24"/>
                      <a:pt x="26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3" y="24"/>
                      <a:pt x="44" y="25"/>
                      <a:pt x="44" y="26"/>
                    </a:cubicBezTo>
                    <a:lnTo>
                      <a:pt x="44" y="42"/>
                    </a:lnTo>
                    <a:close/>
                    <a:moveTo>
                      <a:pt x="72" y="42"/>
                    </a:moveTo>
                    <a:cubicBezTo>
                      <a:pt x="72" y="48"/>
                      <a:pt x="72" y="48"/>
                      <a:pt x="72" y="48"/>
                    </a:cubicBezTo>
                    <a:cubicBezTo>
                      <a:pt x="72" y="54"/>
                      <a:pt x="67" y="58"/>
                      <a:pt x="62" y="58"/>
                    </a:cubicBezTo>
                    <a:cubicBezTo>
                      <a:pt x="61" y="58"/>
                      <a:pt x="60" y="58"/>
                      <a:pt x="60" y="56"/>
                    </a:cubicBezTo>
                    <a:cubicBezTo>
                      <a:pt x="60" y="55"/>
                      <a:pt x="61" y="54"/>
                      <a:pt x="62" y="54"/>
                    </a:cubicBezTo>
                    <a:cubicBezTo>
                      <a:pt x="65" y="54"/>
                      <a:pt x="68" y="52"/>
                      <a:pt x="68" y="48"/>
                    </a:cubicBezTo>
                    <a:cubicBezTo>
                      <a:pt x="68" y="44"/>
                      <a:pt x="68" y="44"/>
                      <a:pt x="68" y="44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53" y="44"/>
                      <a:pt x="52" y="44"/>
                      <a:pt x="52" y="42"/>
                    </a:cubicBezTo>
                    <a:cubicBezTo>
                      <a:pt x="52" y="26"/>
                      <a:pt x="52" y="26"/>
                      <a:pt x="52" y="26"/>
                    </a:cubicBezTo>
                    <a:cubicBezTo>
                      <a:pt x="52" y="25"/>
                      <a:pt x="53" y="24"/>
                      <a:pt x="54" y="24"/>
                    </a:cubicBezTo>
                    <a:cubicBezTo>
                      <a:pt x="70" y="24"/>
                      <a:pt x="70" y="24"/>
                      <a:pt x="70" y="24"/>
                    </a:cubicBezTo>
                    <a:cubicBezTo>
                      <a:pt x="71" y="24"/>
                      <a:pt x="72" y="25"/>
                      <a:pt x="72" y="26"/>
                    </a:cubicBezTo>
                    <a:lnTo>
                      <a:pt x="72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70" name="Slide Number Placeholder 69">
            <a:extLst>
              <a:ext uri="{FF2B5EF4-FFF2-40B4-BE49-F238E27FC236}">
                <a16:creationId xmlns:a16="http://schemas.microsoft.com/office/drawing/2014/main" xmlns="" id="{AEAAA4FE-D620-4C95-A1D6-EDEE88C54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989611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xmlns="" id="{9CC88FEE-6184-42A2-887D-399DF7DC10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915599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224" name="think-cell Slide" r:id="rId6" imgW="360" imgH="360" progId="">
              <p:embed/>
            </p:oleObj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xmlns="" id="{366D3FAC-36E2-4405-8712-87B88C5FEF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F2DF3CB-21E7-4125-AECC-9F420689B7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ent Testimonial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D70E6415-F730-44DA-9C76-9EA1E1F73524}"/>
              </a:ext>
            </a:extLst>
          </p:cNvPr>
          <p:cNvCxnSpPr/>
          <p:nvPr/>
        </p:nvCxnSpPr>
        <p:spPr>
          <a:xfrm>
            <a:off x="640080" y="3931920"/>
            <a:ext cx="10942320" cy="0"/>
          </a:xfrm>
          <a:prstGeom prst="line">
            <a:avLst/>
          </a:prstGeom>
          <a:ln w="127000">
            <a:solidFill>
              <a:srgbClr val="1722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C0507B7D-9DDB-41AD-9AA0-642E36EB9311}"/>
              </a:ext>
            </a:extLst>
          </p:cNvPr>
          <p:cNvGrpSpPr/>
          <p:nvPr/>
        </p:nvGrpSpPr>
        <p:grpSpPr>
          <a:xfrm>
            <a:off x="971368" y="1887230"/>
            <a:ext cx="1466850" cy="1664943"/>
            <a:chOff x="987913" y="1498597"/>
            <a:chExt cx="1466850" cy="166494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xmlns="" id="{2034E0AB-DC02-43CC-BB2F-1736A413AC9E}"/>
                </a:ext>
              </a:extLst>
            </p:cNvPr>
            <p:cNvSpPr/>
            <p:nvPr/>
          </p:nvSpPr>
          <p:spPr>
            <a:xfrm>
              <a:off x="987913" y="1498597"/>
              <a:ext cx="1466850" cy="1466850"/>
            </a:xfrm>
            <a:prstGeom prst="ellips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xmlns="" id="{05CB8AD0-35DE-41A2-9A6B-971346667260}"/>
                </a:ext>
              </a:extLst>
            </p:cNvPr>
            <p:cNvSpPr/>
            <p:nvPr/>
          </p:nvSpPr>
          <p:spPr>
            <a:xfrm flipV="1">
              <a:off x="1395429" y="2884363"/>
              <a:ext cx="651819" cy="279177"/>
            </a:xfrm>
            <a:prstGeom prst="triangl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xmlns="" id="{D6C8E9F6-2DBE-4F9B-9A82-BDB6F1B7980A}"/>
              </a:ext>
            </a:extLst>
          </p:cNvPr>
          <p:cNvSpPr/>
          <p:nvPr/>
        </p:nvSpPr>
        <p:spPr>
          <a:xfrm>
            <a:off x="1598113" y="3825240"/>
            <a:ext cx="213360" cy="213360"/>
          </a:xfrm>
          <a:prstGeom prst="roundRect">
            <a:avLst>
              <a:gd name="adj" fmla="val 50000"/>
            </a:avLst>
          </a:prstGeom>
          <a:solidFill>
            <a:srgbClr val="EE4540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54F1642-A7C2-4A79-8988-98396C98E364}"/>
              </a:ext>
            </a:extLst>
          </p:cNvPr>
          <p:cNvSpPr/>
          <p:nvPr/>
        </p:nvSpPr>
        <p:spPr>
          <a:xfrm>
            <a:off x="721833" y="4417023"/>
            <a:ext cx="1965920" cy="18542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xmlns="" id="{D0DBD467-5BB3-4DDE-9EF8-9F0D87A22B5F}"/>
              </a:ext>
            </a:extLst>
          </p:cNvPr>
          <p:cNvSpPr/>
          <p:nvPr/>
        </p:nvSpPr>
        <p:spPr>
          <a:xfrm>
            <a:off x="717551" y="4204988"/>
            <a:ext cx="1970196" cy="22607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CB475BB3-9D6D-4393-8215-89CB207B8325}"/>
              </a:ext>
            </a:extLst>
          </p:cNvPr>
          <p:cNvGrpSpPr/>
          <p:nvPr/>
        </p:nvGrpSpPr>
        <p:grpSpPr>
          <a:xfrm>
            <a:off x="5363412" y="1887230"/>
            <a:ext cx="1466850" cy="1664943"/>
            <a:chOff x="987913" y="1498597"/>
            <a:chExt cx="1466850" cy="1664943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xmlns="" id="{DEB53F89-39AF-49F1-AE46-2310398EB45A}"/>
                </a:ext>
              </a:extLst>
            </p:cNvPr>
            <p:cNvSpPr/>
            <p:nvPr/>
          </p:nvSpPr>
          <p:spPr>
            <a:xfrm>
              <a:off x="987913" y="1498597"/>
              <a:ext cx="1466850" cy="1466850"/>
            </a:xfrm>
            <a:prstGeom prst="ellips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xmlns="" id="{85E0301D-EACB-429B-BA39-A32E9E930C4D}"/>
                </a:ext>
              </a:extLst>
            </p:cNvPr>
            <p:cNvSpPr/>
            <p:nvPr/>
          </p:nvSpPr>
          <p:spPr>
            <a:xfrm flipV="1">
              <a:off x="1395429" y="2884363"/>
              <a:ext cx="651819" cy="279177"/>
            </a:xfrm>
            <a:prstGeom prst="triangl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xmlns="" id="{F9241517-7217-4F73-9B61-C495DC9C3DC1}"/>
              </a:ext>
            </a:extLst>
          </p:cNvPr>
          <p:cNvSpPr/>
          <p:nvPr/>
        </p:nvSpPr>
        <p:spPr>
          <a:xfrm>
            <a:off x="5990157" y="3825240"/>
            <a:ext cx="213360" cy="213360"/>
          </a:xfrm>
          <a:prstGeom prst="roundRect">
            <a:avLst>
              <a:gd name="adj" fmla="val 50000"/>
            </a:avLst>
          </a:prstGeom>
          <a:solidFill>
            <a:srgbClr val="EE4540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759CBDF-1EBF-4355-A81F-670A6E6D05BC}"/>
              </a:ext>
            </a:extLst>
          </p:cNvPr>
          <p:cNvSpPr/>
          <p:nvPr/>
        </p:nvSpPr>
        <p:spPr>
          <a:xfrm>
            <a:off x="5113877" y="4417023"/>
            <a:ext cx="1965920" cy="18542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xmlns="" id="{93864552-7AF6-4BFE-AF3C-A554A82EFE41}"/>
              </a:ext>
            </a:extLst>
          </p:cNvPr>
          <p:cNvSpPr/>
          <p:nvPr/>
        </p:nvSpPr>
        <p:spPr>
          <a:xfrm>
            <a:off x="5109595" y="4204988"/>
            <a:ext cx="1970196" cy="22607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C8B5910B-B760-49F1-AF96-D567AE06B4BA}"/>
              </a:ext>
            </a:extLst>
          </p:cNvPr>
          <p:cNvGrpSpPr/>
          <p:nvPr/>
        </p:nvGrpSpPr>
        <p:grpSpPr>
          <a:xfrm>
            <a:off x="9753782" y="1887230"/>
            <a:ext cx="1466850" cy="1664943"/>
            <a:chOff x="987913" y="1498597"/>
            <a:chExt cx="1466850" cy="166494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10B2499D-4A6B-4234-BBD3-2E21A2BE14F5}"/>
                </a:ext>
              </a:extLst>
            </p:cNvPr>
            <p:cNvSpPr/>
            <p:nvPr/>
          </p:nvSpPr>
          <p:spPr>
            <a:xfrm>
              <a:off x="987913" y="1498597"/>
              <a:ext cx="1466850" cy="1466850"/>
            </a:xfrm>
            <a:prstGeom prst="ellips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xmlns="" id="{7034CF0D-4CC7-41E6-8DA5-7B7C824C1F5B}"/>
                </a:ext>
              </a:extLst>
            </p:cNvPr>
            <p:cNvSpPr/>
            <p:nvPr/>
          </p:nvSpPr>
          <p:spPr>
            <a:xfrm flipV="1">
              <a:off x="1395429" y="2884363"/>
              <a:ext cx="651819" cy="279177"/>
            </a:xfrm>
            <a:prstGeom prst="triangl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xmlns="" id="{66EF13EE-01AB-47B9-A5E6-542860C203CC}"/>
              </a:ext>
            </a:extLst>
          </p:cNvPr>
          <p:cNvSpPr/>
          <p:nvPr/>
        </p:nvSpPr>
        <p:spPr>
          <a:xfrm>
            <a:off x="10380527" y="3825240"/>
            <a:ext cx="213360" cy="213360"/>
          </a:xfrm>
          <a:prstGeom prst="roundRect">
            <a:avLst>
              <a:gd name="adj" fmla="val 50000"/>
            </a:avLst>
          </a:prstGeom>
          <a:solidFill>
            <a:srgbClr val="EE4540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ADF0A1EB-2061-4BAF-85CA-75DE5E12894E}"/>
              </a:ext>
            </a:extLst>
          </p:cNvPr>
          <p:cNvSpPr/>
          <p:nvPr/>
        </p:nvSpPr>
        <p:spPr>
          <a:xfrm>
            <a:off x="9504247" y="4417023"/>
            <a:ext cx="1965920" cy="18542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xmlns="" id="{25F3F4A1-789B-48FB-A098-36C3F217DF5F}"/>
              </a:ext>
            </a:extLst>
          </p:cNvPr>
          <p:cNvSpPr/>
          <p:nvPr/>
        </p:nvSpPr>
        <p:spPr>
          <a:xfrm>
            <a:off x="9499965" y="4204988"/>
            <a:ext cx="1970196" cy="22607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xmlns="" id="{A2B357D6-D709-4AE8-B15C-6162C27F6BF5}"/>
              </a:ext>
            </a:extLst>
          </p:cNvPr>
          <p:cNvSpPr/>
          <p:nvPr/>
        </p:nvSpPr>
        <p:spPr>
          <a:xfrm>
            <a:off x="3788577" y="3825240"/>
            <a:ext cx="213360" cy="213360"/>
          </a:xfrm>
          <a:prstGeom prst="roundRect">
            <a:avLst>
              <a:gd name="adj" fmla="val 50000"/>
            </a:avLst>
          </a:prstGeom>
          <a:solidFill>
            <a:srgbClr val="EE4540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65293E98-DF50-45C0-9B17-6FF9F61F93A9}"/>
              </a:ext>
            </a:extLst>
          </p:cNvPr>
          <p:cNvGrpSpPr/>
          <p:nvPr/>
        </p:nvGrpSpPr>
        <p:grpSpPr>
          <a:xfrm flipV="1">
            <a:off x="3161832" y="4248176"/>
            <a:ext cx="1466850" cy="1664943"/>
            <a:chOff x="987913" y="1498597"/>
            <a:chExt cx="1466850" cy="1664943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A5303AB4-B9C3-4858-BFA0-79F7D55F3660}"/>
                </a:ext>
              </a:extLst>
            </p:cNvPr>
            <p:cNvSpPr/>
            <p:nvPr/>
          </p:nvSpPr>
          <p:spPr>
            <a:xfrm>
              <a:off x="987913" y="1498597"/>
              <a:ext cx="1466850" cy="1466850"/>
            </a:xfrm>
            <a:prstGeom prst="ellips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xmlns="" id="{D4C59113-C78F-4B99-BC49-4E7605259405}"/>
                </a:ext>
              </a:extLst>
            </p:cNvPr>
            <p:cNvSpPr/>
            <p:nvPr/>
          </p:nvSpPr>
          <p:spPr>
            <a:xfrm flipV="1">
              <a:off x="1395429" y="2884363"/>
              <a:ext cx="651819" cy="279177"/>
            </a:xfrm>
            <a:prstGeom prst="triangl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xmlns="" id="{77C85039-5B82-4B88-8047-4841E0A54B38}"/>
              </a:ext>
            </a:extLst>
          </p:cNvPr>
          <p:cNvSpPr/>
          <p:nvPr/>
        </p:nvSpPr>
        <p:spPr>
          <a:xfrm>
            <a:off x="8195857" y="3825240"/>
            <a:ext cx="213360" cy="213360"/>
          </a:xfrm>
          <a:prstGeom prst="roundRect">
            <a:avLst>
              <a:gd name="adj" fmla="val 50000"/>
            </a:avLst>
          </a:prstGeom>
          <a:solidFill>
            <a:srgbClr val="EE4540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D0BDC4DA-709D-462A-BF58-6739D21E6C16}"/>
              </a:ext>
            </a:extLst>
          </p:cNvPr>
          <p:cNvGrpSpPr/>
          <p:nvPr/>
        </p:nvGrpSpPr>
        <p:grpSpPr>
          <a:xfrm flipV="1">
            <a:off x="7569112" y="4248176"/>
            <a:ext cx="1466850" cy="1664943"/>
            <a:chOff x="987913" y="1498597"/>
            <a:chExt cx="1466850" cy="1664943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5B8513E2-F235-4D3A-A064-2A88BB0479C4}"/>
                </a:ext>
              </a:extLst>
            </p:cNvPr>
            <p:cNvSpPr/>
            <p:nvPr/>
          </p:nvSpPr>
          <p:spPr>
            <a:xfrm>
              <a:off x="987913" y="1498597"/>
              <a:ext cx="1466850" cy="1466850"/>
            </a:xfrm>
            <a:prstGeom prst="ellips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Isosceles Triangle 40">
              <a:extLst>
                <a:ext uri="{FF2B5EF4-FFF2-40B4-BE49-F238E27FC236}">
                  <a16:creationId xmlns:a16="http://schemas.microsoft.com/office/drawing/2014/main" xmlns="" id="{3D2E1499-29A0-481A-B18A-4BAB109E0232}"/>
                </a:ext>
              </a:extLst>
            </p:cNvPr>
            <p:cNvSpPr/>
            <p:nvPr/>
          </p:nvSpPr>
          <p:spPr>
            <a:xfrm flipV="1">
              <a:off x="1395429" y="2884363"/>
              <a:ext cx="651819" cy="279177"/>
            </a:xfrm>
            <a:prstGeom prst="triangle">
              <a:avLst/>
            </a:prstGeom>
            <a:solidFill>
              <a:srgbClr val="EE45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471EADC5-E853-4C64-9F76-DA440086709E}"/>
              </a:ext>
            </a:extLst>
          </p:cNvPr>
          <p:cNvSpPr/>
          <p:nvPr/>
        </p:nvSpPr>
        <p:spPr>
          <a:xfrm flipV="1">
            <a:off x="2926436" y="1476783"/>
            <a:ext cx="1965920" cy="18542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Isosceles Triangle 42">
            <a:extLst>
              <a:ext uri="{FF2B5EF4-FFF2-40B4-BE49-F238E27FC236}">
                <a16:creationId xmlns:a16="http://schemas.microsoft.com/office/drawing/2014/main" xmlns="" id="{5C55F08E-90A0-4D5F-BE8D-3DABAF0879B8}"/>
              </a:ext>
            </a:extLst>
          </p:cNvPr>
          <p:cNvSpPr/>
          <p:nvPr/>
        </p:nvSpPr>
        <p:spPr>
          <a:xfrm flipV="1">
            <a:off x="2922154" y="3326096"/>
            <a:ext cx="1970196" cy="22607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A3AB314A-7DDB-4742-9F87-531E882FB258}"/>
              </a:ext>
            </a:extLst>
          </p:cNvPr>
          <p:cNvSpPr/>
          <p:nvPr/>
        </p:nvSpPr>
        <p:spPr>
          <a:xfrm flipV="1">
            <a:off x="7323073" y="1476783"/>
            <a:ext cx="1965920" cy="18542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xmlns="" id="{7B67CFE0-BC63-4BDF-B844-D398663D3E14}"/>
              </a:ext>
            </a:extLst>
          </p:cNvPr>
          <p:cNvSpPr/>
          <p:nvPr/>
        </p:nvSpPr>
        <p:spPr>
          <a:xfrm flipV="1">
            <a:off x="7318791" y="3326096"/>
            <a:ext cx="1970196" cy="226077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Subtitle 176">
            <a:extLst>
              <a:ext uri="{FF2B5EF4-FFF2-40B4-BE49-F238E27FC236}">
                <a16:creationId xmlns:a16="http://schemas.microsoft.com/office/drawing/2014/main" xmlns="" id="{193BD3A4-1898-4908-945B-70B4E0B942F8}"/>
              </a:ext>
            </a:extLst>
          </p:cNvPr>
          <p:cNvSpPr txBox="1">
            <a:spLocks/>
          </p:cNvSpPr>
          <p:nvPr/>
        </p:nvSpPr>
        <p:spPr>
          <a:xfrm>
            <a:off x="874132" y="4567361"/>
            <a:ext cx="1657034" cy="1551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</a:t>
            </a:r>
          </a:p>
        </p:txBody>
      </p:sp>
      <p:sp>
        <p:nvSpPr>
          <p:cNvPr id="58" name="Subtitle 176">
            <a:extLst>
              <a:ext uri="{FF2B5EF4-FFF2-40B4-BE49-F238E27FC236}">
                <a16:creationId xmlns:a16="http://schemas.microsoft.com/office/drawing/2014/main" xmlns="" id="{89F2B8AA-3F49-4F61-A29C-081AE8526E0F}"/>
              </a:ext>
            </a:extLst>
          </p:cNvPr>
          <p:cNvSpPr txBox="1">
            <a:spLocks/>
          </p:cNvSpPr>
          <p:nvPr/>
        </p:nvSpPr>
        <p:spPr>
          <a:xfrm>
            <a:off x="5268320" y="4567361"/>
            <a:ext cx="1657034" cy="1551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</a:t>
            </a:r>
          </a:p>
        </p:txBody>
      </p:sp>
      <p:sp>
        <p:nvSpPr>
          <p:cNvPr id="59" name="Subtitle 176">
            <a:extLst>
              <a:ext uri="{FF2B5EF4-FFF2-40B4-BE49-F238E27FC236}">
                <a16:creationId xmlns:a16="http://schemas.microsoft.com/office/drawing/2014/main" xmlns="" id="{56616B47-6ABC-408E-8AB8-F0AEE46EA736}"/>
              </a:ext>
            </a:extLst>
          </p:cNvPr>
          <p:cNvSpPr txBox="1">
            <a:spLocks/>
          </p:cNvSpPr>
          <p:nvPr/>
        </p:nvSpPr>
        <p:spPr>
          <a:xfrm>
            <a:off x="9658690" y="4567361"/>
            <a:ext cx="1657034" cy="1551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</a:t>
            </a:r>
          </a:p>
        </p:txBody>
      </p:sp>
      <p:sp>
        <p:nvSpPr>
          <p:cNvPr id="60" name="Subtitle 176">
            <a:extLst>
              <a:ext uri="{FF2B5EF4-FFF2-40B4-BE49-F238E27FC236}">
                <a16:creationId xmlns:a16="http://schemas.microsoft.com/office/drawing/2014/main" xmlns="" id="{7196FB3E-8B18-47C0-80EF-838B8A0F2004}"/>
              </a:ext>
            </a:extLst>
          </p:cNvPr>
          <p:cNvSpPr txBox="1">
            <a:spLocks/>
          </p:cNvSpPr>
          <p:nvPr/>
        </p:nvSpPr>
        <p:spPr>
          <a:xfrm>
            <a:off x="3080879" y="1628297"/>
            <a:ext cx="1657034" cy="155119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</a:t>
            </a:r>
          </a:p>
        </p:txBody>
      </p:sp>
      <p:sp>
        <p:nvSpPr>
          <p:cNvPr id="61" name="Subtitle 176">
            <a:extLst>
              <a:ext uri="{FF2B5EF4-FFF2-40B4-BE49-F238E27FC236}">
                <a16:creationId xmlns:a16="http://schemas.microsoft.com/office/drawing/2014/main" xmlns="" id="{358BDD87-3B56-47EC-9AC0-42873B252E6F}"/>
              </a:ext>
            </a:extLst>
          </p:cNvPr>
          <p:cNvSpPr txBox="1">
            <a:spLocks/>
          </p:cNvSpPr>
          <p:nvPr/>
        </p:nvSpPr>
        <p:spPr>
          <a:xfrm>
            <a:off x="7477516" y="1628297"/>
            <a:ext cx="1657034" cy="155119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Lorem ipsum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dolo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sit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me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,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adipiscing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lit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Aenean vitae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nisl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ligula.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ivam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consectetur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ris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pretium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massa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 porta </a:t>
            </a:r>
            <a:r>
              <a:rPr lang="en-ID" sz="1400" i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varius</a:t>
            </a:r>
            <a:r>
              <a:rPr lang="en-ID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. Nam </a:t>
            </a:r>
          </a:p>
        </p:txBody>
      </p:sp>
      <p:sp>
        <p:nvSpPr>
          <p:cNvPr id="63" name="Slide Number Placeholder 62">
            <a:extLst>
              <a:ext uri="{FF2B5EF4-FFF2-40B4-BE49-F238E27FC236}">
                <a16:creationId xmlns:a16="http://schemas.microsoft.com/office/drawing/2014/main" xmlns="" id="{6B6EA3B7-E11E-4A8E-B338-95E35E0F5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7A62E-F524-4A84-BB45-2464B8E84E7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57466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dY0cegarRklgO9AWCs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AOXgYPdygpdwBeCm0x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qBOigyQOPIAFc6hcF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.QDTitRWsADGcIBhN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Wv.M5htbftIWWhrBZW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8xeK9VVC46wA4Y4BNC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1jHgIeXDYT.Y0NYDxQ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k6rP0nhD98IUh2LxLg7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</TotalTime>
  <Words>1258</Words>
  <Application>Microsoft Office PowerPoint</Application>
  <PresentationFormat>Произвольный</PresentationFormat>
  <Paragraphs>123</Paragraphs>
  <Slides>12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Слайд 1</vt:lpstr>
      <vt:lpstr>Слайд 2</vt:lpstr>
      <vt:lpstr>Client Testimonials</vt:lpstr>
      <vt:lpstr>Client Testimonials</vt:lpstr>
      <vt:lpstr>Client Testimonials</vt:lpstr>
      <vt:lpstr>Client Testimonials</vt:lpstr>
      <vt:lpstr>Client Testimonials</vt:lpstr>
      <vt:lpstr>Client Testimonials</vt:lpstr>
      <vt:lpstr>Client Testimonials</vt:lpstr>
      <vt:lpstr>Слайд 10</vt:lpstr>
      <vt:lpstr>Слайд 11</vt:lpstr>
      <vt:lpstr>Слайд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Admin</cp:lastModifiedBy>
  <cp:revision>33</cp:revision>
  <dcterms:created xsi:type="dcterms:W3CDTF">2020-10-09T03:41:34Z</dcterms:created>
  <dcterms:modified xsi:type="dcterms:W3CDTF">2020-11-12T11:2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460947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1</vt:lpwstr>
  </property>
</Properties>
</file>